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0" r:id="rId4"/>
  </p:sldMasterIdLst>
  <p:notesMasterIdLst>
    <p:notesMasterId r:id="rId58"/>
  </p:notesMasterIdLst>
  <p:handoutMasterIdLst>
    <p:handoutMasterId r:id="rId59"/>
  </p:handoutMasterIdLst>
  <p:sldIdLst>
    <p:sldId id="439" r:id="rId5"/>
    <p:sldId id="489" r:id="rId6"/>
    <p:sldId id="424" r:id="rId7"/>
    <p:sldId id="423" r:id="rId8"/>
    <p:sldId id="440" r:id="rId9"/>
    <p:sldId id="441" r:id="rId10"/>
    <p:sldId id="442" r:id="rId11"/>
    <p:sldId id="443" r:id="rId12"/>
    <p:sldId id="444" r:id="rId13"/>
    <p:sldId id="445" r:id="rId14"/>
    <p:sldId id="446" r:id="rId15"/>
    <p:sldId id="447" r:id="rId16"/>
    <p:sldId id="448" r:id="rId17"/>
    <p:sldId id="449" r:id="rId18"/>
    <p:sldId id="451" r:id="rId19"/>
    <p:sldId id="452" r:id="rId20"/>
    <p:sldId id="453" r:id="rId21"/>
    <p:sldId id="454" r:id="rId22"/>
    <p:sldId id="455" r:id="rId23"/>
    <p:sldId id="456" r:id="rId24"/>
    <p:sldId id="457" r:id="rId25"/>
    <p:sldId id="458" r:id="rId26"/>
    <p:sldId id="450" r:id="rId27"/>
    <p:sldId id="459" r:id="rId28"/>
    <p:sldId id="460" r:id="rId29"/>
    <p:sldId id="462" r:id="rId30"/>
    <p:sldId id="463" r:id="rId31"/>
    <p:sldId id="461" r:id="rId32"/>
    <p:sldId id="464" r:id="rId33"/>
    <p:sldId id="465" r:id="rId34"/>
    <p:sldId id="466" r:id="rId35"/>
    <p:sldId id="467" r:id="rId36"/>
    <p:sldId id="468" r:id="rId37"/>
    <p:sldId id="469" r:id="rId38"/>
    <p:sldId id="470" r:id="rId39"/>
    <p:sldId id="471" r:id="rId40"/>
    <p:sldId id="472" r:id="rId41"/>
    <p:sldId id="474" r:id="rId42"/>
    <p:sldId id="473" r:id="rId43"/>
    <p:sldId id="477" r:id="rId44"/>
    <p:sldId id="475" r:id="rId45"/>
    <p:sldId id="476" r:id="rId46"/>
    <p:sldId id="478" r:id="rId47"/>
    <p:sldId id="479" r:id="rId48"/>
    <p:sldId id="480" r:id="rId49"/>
    <p:sldId id="481" r:id="rId50"/>
    <p:sldId id="482" r:id="rId51"/>
    <p:sldId id="483" r:id="rId52"/>
    <p:sldId id="488" r:id="rId53"/>
    <p:sldId id="486" r:id="rId54"/>
    <p:sldId id="487" r:id="rId55"/>
    <p:sldId id="485" r:id="rId56"/>
    <p:sldId id="420" r:id="rId57"/>
  </p:sldIdLst>
  <p:sldSz cx="12192000" cy="6858000"/>
  <p:notesSz cx="6858000" cy="9144000"/>
  <p:custDataLst>
    <p:tags r:id="rId60"/>
  </p:custDataLst>
  <p:defaultTextStyle>
    <a:defPPr>
      <a:defRPr lang="de-DE"/>
    </a:defPPr>
    <a:lvl1pPr marL="0" algn="l" defTabSz="1088475" rtl="0" eaLnBrk="1" latinLnBrk="0" hangingPunct="1">
      <a:defRPr sz="2100" kern="1200">
        <a:solidFill>
          <a:schemeClr val="tx1"/>
        </a:solidFill>
        <a:latin typeface="+mn-lt"/>
        <a:ea typeface="+mn-ea"/>
        <a:cs typeface="+mn-cs"/>
      </a:defRPr>
    </a:lvl1pPr>
    <a:lvl2pPr marL="544237" algn="l" defTabSz="1088475" rtl="0" eaLnBrk="1" latinLnBrk="0" hangingPunct="1">
      <a:defRPr sz="2100" kern="1200">
        <a:solidFill>
          <a:schemeClr val="tx1"/>
        </a:solidFill>
        <a:latin typeface="+mn-lt"/>
        <a:ea typeface="+mn-ea"/>
        <a:cs typeface="+mn-cs"/>
      </a:defRPr>
    </a:lvl2pPr>
    <a:lvl3pPr marL="1088475" algn="l" defTabSz="1088475" rtl="0" eaLnBrk="1" latinLnBrk="0" hangingPunct="1">
      <a:defRPr sz="2100" kern="1200">
        <a:solidFill>
          <a:schemeClr val="tx1"/>
        </a:solidFill>
        <a:latin typeface="+mn-lt"/>
        <a:ea typeface="+mn-ea"/>
        <a:cs typeface="+mn-cs"/>
      </a:defRPr>
    </a:lvl3pPr>
    <a:lvl4pPr marL="1632713" algn="l" defTabSz="1088475" rtl="0" eaLnBrk="1" latinLnBrk="0" hangingPunct="1">
      <a:defRPr sz="2100" kern="1200">
        <a:solidFill>
          <a:schemeClr val="tx1"/>
        </a:solidFill>
        <a:latin typeface="+mn-lt"/>
        <a:ea typeface="+mn-ea"/>
        <a:cs typeface="+mn-cs"/>
      </a:defRPr>
    </a:lvl4pPr>
    <a:lvl5pPr marL="2176950" algn="l" defTabSz="1088475" rtl="0" eaLnBrk="1" latinLnBrk="0" hangingPunct="1">
      <a:defRPr sz="2100" kern="1200">
        <a:solidFill>
          <a:schemeClr val="tx1"/>
        </a:solidFill>
        <a:latin typeface="+mn-lt"/>
        <a:ea typeface="+mn-ea"/>
        <a:cs typeface="+mn-cs"/>
      </a:defRPr>
    </a:lvl5pPr>
    <a:lvl6pPr marL="2721187" algn="l" defTabSz="1088475" rtl="0" eaLnBrk="1" latinLnBrk="0" hangingPunct="1">
      <a:defRPr sz="2100" kern="1200">
        <a:solidFill>
          <a:schemeClr val="tx1"/>
        </a:solidFill>
        <a:latin typeface="+mn-lt"/>
        <a:ea typeface="+mn-ea"/>
        <a:cs typeface="+mn-cs"/>
      </a:defRPr>
    </a:lvl6pPr>
    <a:lvl7pPr marL="3265424" algn="l" defTabSz="1088475" rtl="0" eaLnBrk="1" latinLnBrk="0" hangingPunct="1">
      <a:defRPr sz="2100" kern="1200">
        <a:solidFill>
          <a:schemeClr val="tx1"/>
        </a:solidFill>
        <a:latin typeface="+mn-lt"/>
        <a:ea typeface="+mn-ea"/>
        <a:cs typeface="+mn-cs"/>
      </a:defRPr>
    </a:lvl7pPr>
    <a:lvl8pPr marL="3809661" algn="l" defTabSz="1088475" rtl="0" eaLnBrk="1" latinLnBrk="0" hangingPunct="1">
      <a:defRPr sz="2100" kern="1200">
        <a:solidFill>
          <a:schemeClr val="tx1"/>
        </a:solidFill>
        <a:latin typeface="+mn-lt"/>
        <a:ea typeface="+mn-ea"/>
        <a:cs typeface="+mn-cs"/>
      </a:defRPr>
    </a:lvl8pPr>
    <a:lvl9pPr marL="4353898" algn="l" defTabSz="1088475"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55" userDrawn="1">
          <p15:clr>
            <a:srgbClr val="A4A3A4"/>
          </p15:clr>
        </p15:guide>
        <p15:guide id="2" orient="horz" pos="572" userDrawn="1">
          <p15:clr>
            <a:srgbClr val="A4A3A4"/>
          </p15:clr>
        </p15:guide>
        <p15:guide id="3" orient="horz" pos="300" userDrawn="1">
          <p15:clr>
            <a:srgbClr val="A4A3A4"/>
          </p15:clr>
        </p15:guide>
        <p15:guide id="4" orient="horz" pos="981" userDrawn="1">
          <p15:clr>
            <a:srgbClr val="A4A3A4"/>
          </p15:clr>
        </p15:guide>
        <p15:guide id="5" orient="horz" pos="3656" userDrawn="1">
          <p15:clr>
            <a:srgbClr val="A4A3A4"/>
          </p15:clr>
        </p15:guide>
        <p15:guide id="6" orient="horz" pos="3837" userDrawn="1">
          <p15:clr>
            <a:srgbClr val="A4A3A4"/>
          </p15:clr>
        </p15:guide>
        <p15:guide id="7" orient="horz" pos="4064" userDrawn="1">
          <p15:clr>
            <a:srgbClr val="A4A3A4"/>
          </p15:clr>
        </p15:guide>
        <p15:guide id="8" pos="7333" userDrawn="1">
          <p15:clr>
            <a:srgbClr val="A4A3A4"/>
          </p15:clr>
        </p15:guide>
        <p15:guide id="9" pos="6448" userDrawn="1">
          <p15:clr>
            <a:srgbClr val="A4A3A4"/>
          </p15:clr>
        </p15:guide>
        <p15:guide id="10" pos="347" userDrawn="1">
          <p15:clr>
            <a:srgbClr val="A4A3A4"/>
          </p15:clr>
        </p15:guide>
        <p15:guide id="11" pos="2705" userDrawn="1">
          <p15:clr>
            <a:srgbClr val="A4A3A4"/>
          </p15:clr>
        </p15:guide>
        <p15:guide id="12" pos="3794" userDrawn="1">
          <p15:clr>
            <a:srgbClr val="A4A3A4"/>
          </p15:clr>
        </p15:guide>
        <p15:guide id="13" pos="3884" userDrawn="1">
          <p15:clr>
            <a:srgbClr val="A4A3A4"/>
          </p15:clr>
        </p15:guide>
        <p15:guide id="14" pos="2614" userDrawn="1">
          <p15:clr>
            <a:srgbClr val="A4A3A4"/>
          </p15:clr>
        </p15:guide>
        <p15:guide id="15" pos="4974" userDrawn="1">
          <p15:clr>
            <a:srgbClr val="A4A3A4"/>
          </p15:clr>
        </p15:guide>
        <p15:guide id="16" pos="3841" userDrawn="1">
          <p15:clr>
            <a:srgbClr val="A4A3A4"/>
          </p15:clr>
        </p15:guide>
        <p15:guide id="17" orient="horz" pos="27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C11C"/>
    <a:srgbClr val="009AA3"/>
    <a:srgbClr val="0099A1"/>
    <a:srgbClr val="FFC000"/>
    <a:srgbClr val="FF0000"/>
    <a:srgbClr val="C00000"/>
    <a:srgbClr val="007379"/>
    <a:srgbClr val="000000"/>
    <a:srgbClr val="004D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4954" autoAdjust="0"/>
  </p:normalViewPr>
  <p:slideViewPr>
    <p:cSldViewPr snapToGrid="0" snapToObjects="1" showGuides="1">
      <p:cViewPr varScale="1">
        <p:scale>
          <a:sx n="67" d="100"/>
          <a:sy n="67" d="100"/>
        </p:scale>
        <p:origin x="680" y="44"/>
      </p:cViewPr>
      <p:guideLst>
        <p:guide orient="horz" pos="2455"/>
        <p:guide orient="horz" pos="572"/>
        <p:guide orient="horz" pos="300"/>
        <p:guide orient="horz" pos="981"/>
        <p:guide orient="horz" pos="3656"/>
        <p:guide orient="horz" pos="3837"/>
        <p:guide orient="horz" pos="4064"/>
        <p:guide pos="7333"/>
        <p:guide pos="6448"/>
        <p:guide pos="347"/>
        <p:guide pos="2705"/>
        <p:guide pos="3794"/>
        <p:guide pos="3884"/>
        <p:guide pos="2614"/>
        <p:guide pos="4974"/>
        <p:guide pos="3841"/>
        <p:guide orient="horz" pos="2727"/>
      </p:guideLst>
    </p:cSldViewPr>
  </p:slideViewPr>
  <p:outlineViewPr>
    <p:cViewPr>
      <p:scale>
        <a:sx n="33" d="100"/>
        <a:sy n="33" d="100"/>
      </p:scale>
      <p:origin x="0" y="0"/>
    </p:cViewPr>
  </p:outlineViewPr>
  <p:notesTextViewPr>
    <p:cViewPr>
      <p:scale>
        <a:sx n="1" d="1"/>
        <a:sy n="1" d="1"/>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3066" y="13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
          <p:cNvSpPr>
            <a:spLocks noGrp="1"/>
          </p:cNvSpPr>
          <p:nvPr>
            <p:ph type="hdr" sz="quarter"/>
          </p:nvPr>
        </p:nvSpPr>
        <p:spPr bwMode="gray">
          <a:xfrm>
            <a:off x="0" y="0"/>
            <a:ext cx="2952000" cy="432000"/>
          </a:xfrm>
          <a:prstGeom prst="rect">
            <a:avLst/>
          </a:prstGeom>
        </p:spPr>
        <p:txBody>
          <a:bodyPr vert="horz" lIns="72000" tIns="72000" rIns="72000" bIns="72000" rtlCol="0"/>
          <a:lstStyle>
            <a:lvl1pPr algn="l">
              <a:defRPr sz="1200"/>
            </a:lvl1pPr>
          </a:lstStyle>
          <a:p>
            <a:endParaRPr lang="de-DE" dirty="0"/>
          </a:p>
        </p:txBody>
      </p:sp>
      <p:sp>
        <p:nvSpPr>
          <p:cNvPr id="3" name="Datum"/>
          <p:cNvSpPr>
            <a:spLocks noGrp="1"/>
          </p:cNvSpPr>
          <p:nvPr>
            <p:ph type="dt" sz="quarter" idx="1"/>
          </p:nvPr>
        </p:nvSpPr>
        <p:spPr bwMode="gray">
          <a:xfrm>
            <a:off x="3906000" y="0"/>
            <a:ext cx="2952000" cy="432000"/>
          </a:xfrm>
          <a:prstGeom prst="rect">
            <a:avLst/>
          </a:prstGeom>
        </p:spPr>
        <p:txBody>
          <a:bodyPr vert="horz" lIns="72000" tIns="72000" rIns="72000" bIns="72000" rtlCol="0"/>
          <a:lstStyle>
            <a:lvl1pPr algn="r">
              <a:defRPr sz="1200"/>
            </a:lvl1pPr>
          </a:lstStyle>
          <a:p>
            <a:fld id="{53105EE6-0555-4BD3-8EFF-7860A0E7DA14}" type="datetimeFigureOut">
              <a:rPr lang="de-DE" smtClean="0"/>
              <a:t>30.01.2023</a:t>
            </a:fld>
            <a:endParaRPr lang="de-DE" dirty="0"/>
          </a:p>
        </p:txBody>
      </p:sp>
      <p:sp>
        <p:nvSpPr>
          <p:cNvPr id="4" name="Fußzeile"/>
          <p:cNvSpPr>
            <a:spLocks noGrp="1"/>
          </p:cNvSpPr>
          <p:nvPr>
            <p:ph type="ftr" sz="quarter" idx="2"/>
          </p:nvPr>
        </p:nvSpPr>
        <p:spPr bwMode="gray">
          <a:xfrm>
            <a:off x="0" y="8712000"/>
            <a:ext cx="2952000" cy="432000"/>
          </a:xfrm>
          <a:prstGeom prst="rect">
            <a:avLst/>
          </a:prstGeom>
        </p:spPr>
        <p:txBody>
          <a:bodyPr vert="horz" lIns="72000" tIns="72000" rIns="72000" bIns="72000" rtlCol="0" anchor="b"/>
          <a:lstStyle>
            <a:lvl1pPr algn="l">
              <a:defRPr sz="1200"/>
            </a:lvl1pPr>
          </a:lstStyle>
          <a:p>
            <a:endParaRPr lang="de-DE" dirty="0"/>
          </a:p>
        </p:txBody>
      </p:sp>
      <p:sp>
        <p:nvSpPr>
          <p:cNvPr id="5" name="Foliennummer"/>
          <p:cNvSpPr>
            <a:spLocks noGrp="1"/>
          </p:cNvSpPr>
          <p:nvPr>
            <p:ph type="sldNum" sz="quarter" idx="3"/>
          </p:nvPr>
        </p:nvSpPr>
        <p:spPr bwMode="gray">
          <a:xfrm>
            <a:off x="3906000" y="8712000"/>
            <a:ext cx="2952000" cy="432000"/>
          </a:xfrm>
          <a:prstGeom prst="rect">
            <a:avLst/>
          </a:prstGeom>
        </p:spPr>
        <p:txBody>
          <a:bodyPr vert="horz" lIns="72000" tIns="72000" rIns="72000" bIns="72000" rtlCol="0" anchor="b"/>
          <a:lstStyle>
            <a:lvl1pPr algn="r">
              <a:defRPr sz="1200"/>
            </a:lvl1pPr>
          </a:lstStyle>
          <a:p>
            <a:fld id="{825E346A-0122-46E4-AECE-C481893FBCB9}" type="slidenum">
              <a:rPr lang="de-DE" smtClean="0"/>
              <a:t>‹#›</a:t>
            </a:fld>
            <a:endParaRPr lang="de-DE" dirty="0"/>
          </a:p>
        </p:txBody>
      </p:sp>
    </p:spTree>
    <p:extLst>
      <p:ext uri="{BB962C8B-B14F-4D97-AF65-F5344CB8AC3E}">
        <p14:creationId xmlns:p14="http://schemas.microsoft.com/office/powerpoint/2010/main" val="659120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
          <p:cNvSpPr>
            <a:spLocks noGrp="1"/>
          </p:cNvSpPr>
          <p:nvPr>
            <p:ph type="hdr" sz="quarter"/>
          </p:nvPr>
        </p:nvSpPr>
        <p:spPr bwMode="gray">
          <a:xfrm>
            <a:off x="0" y="0"/>
            <a:ext cx="2952000" cy="432000"/>
          </a:xfrm>
          <a:prstGeom prst="rect">
            <a:avLst/>
          </a:prstGeom>
        </p:spPr>
        <p:txBody>
          <a:bodyPr vert="horz" lIns="72000" tIns="72000" rIns="72000" bIns="72000" rtlCol="0"/>
          <a:lstStyle>
            <a:lvl1pPr algn="l">
              <a:defRPr sz="1200">
                <a:latin typeface="+mn-lt"/>
              </a:defRPr>
            </a:lvl1pPr>
          </a:lstStyle>
          <a:p>
            <a:endParaRPr lang="de-DE" dirty="0"/>
          </a:p>
        </p:txBody>
      </p:sp>
      <p:sp>
        <p:nvSpPr>
          <p:cNvPr id="3" name="Datum"/>
          <p:cNvSpPr>
            <a:spLocks noGrp="1"/>
          </p:cNvSpPr>
          <p:nvPr>
            <p:ph type="dt" idx="1"/>
          </p:nvPr>
        </p:nvSpPr>
        <p:spPr bwMode="gray">
          <a:xfrm>
            <a:off x="3906000" y="0"/>
            <a:ext cx="2952000" cy="432000"/>
          </a:xfrm>
          <a:prstGeom prst="rect">
            <a:avLst/>
          </a:prstGeom>
        </p:spPr>
        <p:txBody>
          <a:bodyPr vert="horz" lIns="72000" tIns="72000" rIns="72000" bIns="72000" rtlCol="0"/>
          <a:lstStyle>
            <a:lvl1pPr algn="r">
              <a:defRPr sz="1200">
                <a:latin typeface="+mn-lt"/>
              </a:defRPr>
            </a:lvl1pPr>
          </a:lstStyle>
          <a:p>
            <a:fld id="{B8DD35AF-E6AE-4141-BF45-E7C4E548BFFD}" type="datetimeFigureOut">
              <a:rPr lang="de-DE" smtClean="0"/>
              <a:pPr/>
              <a:t>30.01.2023</a:t>
            </a:fld>
            <a:endParaRPr lang="de-DE" dirty="0"/>
          </a:p>
        </p:txBody>
      </p:sp>
      <p:sp>
        <p:nvSpPr>
          <p:cNvPr id="4" name="Folienbild"/>
          <p:cNvSpPr>
            <a:spLocks noGrp="1" noRot="1" noChangeAspect="1"/>
          </p:cNvSpPr>
          <p:nvPr>
            <p:ph type="sldImg" idx="2"/>
          </p:nvPr>
        </p:nvSpPr>
        <p:spPr bwMode="gray">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
          <p:cNvSpPr>
            <a:spLocks noGrp="1"/>
          </p:cNvSpPr>
          <p:nvPr>
            <p:ph type="body" sz="quarter" idx="3"/>
          </p:nvPr>
        </p:nvSpPr>
        <p:spPr bwMode="gray">
          <a:xfrm>
            <a:off x="685800" y="4343400"/>
            <a:ext cx="5486400" cy="411480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
          <p:cNvSpPr>
            <a:spLocks noGrp="1"/>
          </p:cNvSpPr>
          <p:nvPr>
            <p:ph type="ftr" sz="quarter" idx="4"/>
          </p:nvPr>
        </p:nvSpPr>
        <p:spPr bwMode="gray">
          <a:xfrm>
            <a:off x="0" y="8712000"/>
            <a:ext cx="2952000" cy="432000"/>
          </a:xfrm>
          <a:prstGeom prst="rect">
            <a:avLst/>
          </a:prstGeom>
        </p:spPr>
        <p:txBody>
          <a:bodyPr vert="horz" lIns="72000" tIns="72000" rIns="72000" bIns="72000" rtlCol="0" anchor="b"/>
          <a:lstStyle>
            <a:lvl1pPr algn="l">
              <a:defRPr sz="1200">
                <a:latin typeface="+mn-lt"/>
              </a:defRPr>
            </a:lvl1pPr>
          </a:lstStyle>
          <a:p>
            <a:endParaRPr lang="de-DE" dirty="0"/>
          </a:p>
        </p:txBody>
      </p:sp>
      <p:sp>
        <p:nvSpPr>
          <p:cNvPr id="7" name="Foliennummer"/>
          <p:cNvSpPr>
            <a:spLocks noGrp="1"/>
          </p:cNvSpPr>
          <p:nvPr>
            <p:ph type="sldNum" sz="quarter" idx="5"/>
          </p:nvPr>
        </p:nvSpPr>
        <p:spPr bwMode="gray">
          <a:xfrm>
            <a:off x="3906000" y="8712000"/>
            <a:ext cx="2952000" cy="432000"/>
          </a:xfrm>
          <a:prstGeom prst="rect">
            <a:avLst/>
          </a:prstGeom>
        </p:spPr>
        <p:txBody>
          <a:bodyPr vert="horz" lIns="72000" tIns="72000" rIns="72000" bIns="72000" rtlCol="0" anchor="b"/>
          <a:lstStyle>
            <a:lvl1pPr algn="r">
              <a:defRPr sz="1200">
                <a:latin typeface="+mn-lt"/>
              </a:defRPr>
            </a:lvl1pPr>
          </a:lstStyle>
          <a:p>
            <a:fld id="{DB170224-FE03-429C-83B7-DC36E71A8559}" type="slidenum">
              <a:rPr lang="de-DE" smtClean="0"/>
              <a:pPr/>
              <a:t>‹#›</a:t>
            </a:fld>
            <a:endParaRPr lang="de-DE" dirty="0"/>
          </a:p>
        </p:txBody>
      </p:sp>
    </p:spTree>
    <p:extLst>
      <p:ext uri="{BB962C8B-B14F-4D97-AF65-F5344CB8AC3E}">
        <p14:creationId xmlns:p14="http://schemas.microsoft.com/office/powerpoint/2010/main" val="2262820659"/>
      </p:ext>
    </p:extLst>
  </p:cSld>
  <p:clrMap bg1="lt1" tx1="dk1" bg2="lt2" tx2="dk2" accent1="accent1" accent2="accent2" accent3="accent3" accent4="accent4" accent5="accent5" accent6="accent6" hlink="hlink" folHlink="folHlink"/>
  <p:notesStyle>
    <a:lvl1pPr marL="204090" indent="-204090" algn="l" defTabSz="1088475" rtl="0" eaLnBrk="1" latinLnBrk="0" hangingPunct="1">
      <a:buClr>
        <a:schemeClr val="accent2"/>
      </a:buClr>
      <a:buFont typeface="Wingdings" panose="05000000000000000000" pitchFamily="2" charset="2"/>
      <a:buChar char="§"/>
      <a:defRPr sz="1400" kern="1200">
        <a:solidFill>
          <a:schemeClr val="tx1"/>
        </a:solidFill>
        <a:latin typeface="+mn-lt"/>
        <a:ea typeface="+mn-ea"/>
        <a:cs typeface="+mn-cs"/>
      </a:defRPr>
    </a:lvl1pPr>
    <a:lvl2pPr marL="748327" indent="-204090" algn="l" defTabSz="1088475" rtl="0" eaLnBrk="1" latinLnBrk="0" hangingPunct="1">
      <a:buClr>
        <a:schemeClr val="accent2"/>
      </a:buClr>
      <a:buFont typeface="Wingdings" panose="05000000000000000000" pitchFamily="2" charset="2"/>
      <a:buChar char="§"/>
      <a:defRPr sz="1400" kern="1200">
        <a:solidFill>
          <a:schemeClr val="tx1"/>
        </a:solidFill>
        <a:latin typeface="Arial" panose="020B0604020202020204" pitchFamily="34" charset="0"/>
        <a:ea typeface="+mn-ea"/>
        <a:cs typeface="+mn-cs"/>
      </a:defRPr>
    </a:lvl2pPr>
    <a:lvl3pPr marL="1292564" indent="-204090" algn="l" defTabSz="1088475" rtl="0" eaLnBrk="1" latinLnBrk="0" hangingPunct="1">
      <a:buClr>
        <a:schemeClr val="accent2"/>
      </a:buClr>
      <a:buFont typeface="Wingdings" panose="05000000000000000000" pitchFamily="2" charset="2"/>
      <a:buChar char="§"/>
      <a:defRPr sz="1400" kern="1200">
        <a:solidFill>
          <a:schemeClr val="tx1"/>
        </a:solidFill>
        <a:latin typeface="Arial" panose="020B0604020202020204" pitchFamily="34" charset="0"/>
        <a:ea typeface="+mn-ea"/>
        <a:cs typeface="+mn-cs"/>
      </a:defRPr>
    </a:lvl3pPr>
    <a:lvl4pPr marL="1836801" indent="-204090" algn="l" defTabSz="1088475" rtl="0" eaLnBrk="1" latinLnBrk="0" hangingPunct="1">
      <a:buClr>
        <a:schemeClr val="accent2"/>
      </a:buClr>
      <a:buFont typeface="Wingdings" panose="05000000000000000000" pitchFamily="2" charset="2"/>
      <a:buChar char="§"/>
      <a:defRPr sz="1400" kern="1200">
        <a:solidFill>
          <a:schemeClr val="tx1"/>
        </a:solidFill>
        <a:latin typeface="Arial" panose="020B0604020202020204" pitchFamily="34" charset="0"/>
        <a:ea typeface="+mn-ea"/>
        <a:cs typeface="+mn-cs"/>
      </a:defRPr>
    </a:lvl4pPr>
    <a:lvl5pPr marL="2381039" indent="-204090" algn="l" defTabSz="1088475" rtl="0" eaLnBrk="1" latinLnBrk="0" hangingPunct="1">
      <a:buClr>
        <a:schemeClr val="accent2"/>
      </a:buClr>
      <a:buFont typeface="Wingdings" panose="05000000000000000000" pitchFamily="2" charset="2"/>
      <a:buChar char="§"/>
      <a:defRPr sz="1400" kern="1200">
        <a:solidFill>
          <a:schemeClr val="tx1"/>
        </a:solidFill>
        <a:latin typeface="Arial" panose="020B0604020202020204" pitchFamily="34" charset="0"/>
        <a:ea typeface="+mn-ea"/>
        <a:cs typeface="+mn-cs"/>
      </a:defRPr>
    </a:lvl5pPr>
    <a:lvl6pPr marL="2721187" algn="l" defTabSz="1088475" rtl="0" eaLnBrk="1" latinLnBrk="0" hangingPunct="1">
      <a:defRPr sz="1400" kern="1200">
        <a:solidFill>
          <a:schemeClr val="tx1"/>
        </a:solidFill>
        <a:latin typeface="+mn-lt"/>
        <a:ea typeface="+mn-ea"/>
        <a:cs typeface="+mn-cs"/>
      </a:defRPr>
    </a:lvl6pPr>
    <a:lvl7pPr marL="3265424" algn="l" defTabSz="1088475" rtl="0" eaLnBrk="1" latinLnBrk="0" hangingPunct="1">
      <a:defRPr sz="1400" kern="1200">
        <a:solidFill>
          <a:schemeClr val="tx1"/>
        </a:solidFill>
        <a:latin typeface="+mn-lt"/>
        <a:ea typeface="+mn-ea"/>
        <a:cs typeface="+mn-cs"/>
      </a:defRPr>
    </a:lvl7pPr>
    <a:lvl8pPr marL="3809661" algn="l" defTabSz="1088475" rtl="0" eaLnBrk="1" latinLnBrk="0" hangingPunct="1">
      <a:defRPr sz="1400" kern="1200">
        <a:solidFill>
          <a:schemeClr val="tx1"/>
        </a:solidFill>
        <a:latin typeface="+mn-lt"/>
        <a:ea typeface="+mn-ea"/>
        <a:cs typeface="+mn-cs"/>
      </a:defRPr>
    </a:lvl8pPr>
    <a:lvl9pPr marL="4353898" algn="l" defTabSz="1088475" rtl="0" eaLnBrk="1" latinLnBrk="0" hangingPunct="1">
      <a:defRPr sz="1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sv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svg"/><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5.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5.sv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9EA59A0-5D15-4BE0-AD45-6F0A1364F5C4}"/>
              </a:ext>
            </a:extLst>
          </p:cNvPr>
          <p:cNvSpPr/>
          <p:nvPr userDrawn="1"/>
        </p:nvSpPr>
        <p:spPr>
          <a:xfrm>
            <a:off x="550863" y="1558924"/>
            <a:ext cx="7346880" cy="2643621"/>
          </a:xfrm>
          <a:prstGeom prst="rect">
            <a:avLst/>
          </a:prstGeom>
        </p:spPr>
        <p:txBody>
          <a:bodyPr wrap="square" lIns="0" tIns="0" rIns="0" bIns="0" anchor="t" anchorCtr="0">
            <a:noAutofit/>
          </a:bodyPr>
          <a:lstStyle/>
          <a:p>
            <a:pPr>
              <a:defRPr/>
            </a:pPr>
            <a:r>
              <a:rPr lang="en-US" altLang="de-DE" sz="1800" dirty="0">
                <a:ea typeface="MS PGothic" panose="020B0600070205080204" pitchFamily="34" charset="-128"/>
                <a:cs typeface="Arial" panose="020B0604020202020204" pitchFamily="34" charset="0"/>
              </a:rPr>
              <a:t>All contents in this presentation, in particular texts, photographs and graphics, are protected by copyright and all strategies, models, concepts and conclusions contained in this presentation are also the intellectual property of Phoenix Contact, unless otherwise indicated, for example by references. All information contained in this presentation is to be treated as confidential. It is prohibited to copy, modify, reproduce, publish, distribute or make this presentation available to third parties in any other way, either in whole or in part, without the prior written permission of Phoenix Contact.</a:t>
            </a:r>
          </a:p>
        </p:txBody>
      </p:sp>
      <p:sp>
        <p:nvSpPr>
          <p:cNvPr id="9" name="Rechteck 8">
            <a:extLst>
              <a:ext uri="{FF2B5EF4-FFF2-40B4-BE49-F238E27FC236}">
                <a16:creationId xmlns:a16="http://schemas.microsoft.com/office/drawing/2014/main" id="{9C4286CC-B121-499E-B61E-C13A60DA9845}"/>
              </a:ext>
            </a:extLst>
          </p:cNvPr>
          <p:cNvSpPr/>
          <p:nvPr userDrawn="1"/>
        </p:nvSpPr>
        <p:spPr>
          <a:xfrm>
            <a:off x="549344" y="918558"/>
            <a:ext cx="11091793" cy="523220"/>
          </a:xfrm>
          <a:prstGeom prst="rect">
            <a:avLst/>
          </a:prstGeom>
        </p:spPr>
        <p:txBody>
          <a:bodyPr vert="horz" lIns="0" tIns="0" rIns="0" bIns="0" rtlCol="0" anchor="t">
            <a:noAutofit/>
          </a:bodyPr>
          <a:lstStyle/>
          <a:p>
            <a:pPr lvl="0" defTabSz="914430">
              <a:spcBef>
                <a:spcPct val="0"/>
              </a:spcBef>
              <a:buNone/>
            </a:pPr>
            <a:endParaRPr lang="en-US" sz="2799" b="1" noProof="0" dirty="0">
              <a:latin typeface="+mj-lt"/>
              <a:ea typeface="+mj-ea"/>
              <a:cs typeface="+mj-cs"/>
            </a:endParaRPr>
          </a:p>
        </p:txBody>
      </p:sp>
      <p:pic>
        <p:nvPicPr>
          <p:cNvPr id="6" name="Grafik 5">
            <a:extLst>
              <a:ext uri="{FF2B5EF4-FFF2-40B4-BE49-F238E27FC236}">
                <a16:creationId xmlns:a16="http://schemas.microsoft.com/office/drawing/2014/main" id="{75095DD5-38B0-458D-8F50-1A675FD24E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631347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p15:clr>
            <a:srgbClr val="FBAE40"/>
          </p15:clr>
        </p15:guide>
        <p15:guide id="2" orient="horz" pos="3657" userDrawn="1">
          <p15:clr>
            <a:srgbClr val="FBAE40"/>
          </p15:clr>
        </p15:guide>
        <p15:guide id="3" orient="horz" pos="3839">
          <p15:clr>
            <a:srgbClr val="FBAE40"/>
          </p15:clr>
        </p15:guide>
        <p15:guide id="4" orient="horz" pos="406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EF3F1132-CD2C-4048-B9B6-7FBBEA587EEF}"/>
              </a:ext>
            </a:extLst>
          </p:cNvPr>
          <p:cNvSpPr>
            <a:spLocks noGrp="1"/>
          </p:cNvSpPr>
          <p:nvPr>
            <p:ph type="ftr" sz="quarter" idx="16"/>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ECBDDBC-D2E7-4DED-AA78-D97E68415BAD}"/>
              </a:ext>
            </a:extLst>
          </p:cNvPr>
          <p:cNvSpPr>
            <a:spLocks noGrp="1"/>
          </p:cNvSpPr>
          <p:nvPr>
            <p:ph type="sldNum" sz="quarter" idx="17"/>
          </p:nvPr>
        </p:nvSpPr>
        <p:spPr/>
        <p:txBody>
          <a:bodyPr/>
          <a:lstStyle/>
          <a:p>
            <a:fld id="{B227C86F-CC2D-492F-A88C-C748186E73FB}" type="slidenum">
              <a:rPr lang="de-DE" smtClean="0"/>
              <a:pPr/>
              <a:t>‹#›</a:t>
            </a:fld>
            <a:endParaRPr lang="de-DE" dirty="0"/>
          </a:p>
        </p:txBody>
      </p:sp>
      <p:sp>
        <p:nvSpPr>
          <p:cNvPr id="10" name="Text">
            <a:extLst>
              <a:ext uri="{FF2B5EF4-FFF2-40B4-BE49-F238E27FC236}">
                <a16:creationId xmlns:a16="http://schemas.microsoft.com/office/drawing/2014/main" id="{DA6C9F9D-7B47-4C9B-99F7-54D5ACA6EF14}"/>
              </a:ext>
            </a:extLst>
          </p:cNvPr>
          <p:cNvSpPr>
            <a:spLocks noGrp="1"/>
          </p:cNvSpPr>
          <p:nvPr>
            <p:ph type="body" sz="quarter" idx="18"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1" name="Titel">
            <a:extLst>
              <a:ext uri="{FF2B5EF4-FFF2-40B4-BE49-F238E27FC236}">
                <a16:creationId xmlns:a16="http://schemas.microsoft.com/office/drawing/2014/main" id="{8E5FA404-8609-4310-8476-BCD16581CB50}"/>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8" name="Grafik 7">
            <a:extLst>
              <a:ext uri="{FF2B5EF4-FFF2-40B4-BE49-F238E27FC236}">
                <a16:creationId xmlns:a16="http://schemas.microsoft.com/office/drawing/2014/main" id="{4B316C31-CDAE-4D39-BE2D-D8CC961B0B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33675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D3AA188B-5295-4499-B232-AB0F12D00D1A}"/>
              </a:ext>
            </a:extLst>
          </p:cNvPr>
          <p:cNvSpPr>
            <a:spLocks noGrp="1"/>
          </p:cNvSpPr>
          <p:nvPr>
            <p:ph type="ftr" sz="quarter" idx="10"/>
          </p:nvPr>
        </p:nvSpPr>
        <p:spPr/>
        <p:txBody>
          <a:bodyPr/>
          <a:lstStyle/>
          <a:p>
            <a:r>
              <a:rPr lang="en-US"/>
              <a:t>Updated January 2023</a:t>
            </a:r>
            <a:endParaRPr lang="de-DE" dirty="0"/>
          </a:p>
        </p:txBody>
      </p:sp>
      <p:sp>
        <p:nvSpPr>
          <p:cNvPr id="3" name="Foliennummernplatzhalter 2">
            <a:extLst>
              <a:ext uri="{FF2B5EF4-FFF2-40B4-BE49-F238E27FC236}">
                <a16:creationId xmlns:a16="http://schemas.microsoft.com/office/drawing/2014/main" id="{BC3C733C-9B70-4D85-9F3E-9F33D408EFDE}"/>
              </a:ext>
            </a:extLst>
          </p:cNvPr>
          <p:cNvSpPr>
            <a:spLocks noGrp="1"/>
          </p:cNvSpPr>
          <p:nvPr>
            <p:ph type="sldNum" sz="quarter" idx="11"/>
          </p:nvPr>
        </p:nvSpPr>
        <p:spPr/>
        <p:txBody>
          <a:bodyPr/>
          <a:lstStyle/>
          <a:p>
            <a:fld id="{B227C86F-CC2D-492F-A88C-C748186E73FB}" type="slidenum">
              <a:rPr lang="de-DE" smtClean="0"/>
              <a:pPr/>
              <a:t>‹#›</a:t>
            </a:fld>
            <a:endParaRPr lang="de-DE" dirty="0"/>
          </a:p>
        </p:txBody>
      </p:sp>
      <p:pic>
        <p:nvPicPr>
          <p:cNvPr id="5" name="Grafik 4">
            <a:extLst>
              <a:ext uri="{FF2B5EF4-FFF2-40B4-BE49-F238E27FC236}">
                <a16:creationId xmlns:a16="http://schemas.microsoft.com/office/drawing/2014/main" id="{5D6A79C7-1002-444B-9E93-E2D24EFFFC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77740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Fußzeilenplatzhalter 9">
            <a:extLst>
              <a:ext uri="{FF2B5EF4-FFF2-40B4-BE49-F238E27FC236}">
                <a16:creationId xmlns:a16="http://schemas.microsoft.com/office/drawing/2014/main" id="{79CF5CD0-9808-483C-B65D-D1618E4D15F1}"/>
              </a:ext>
            </a:extLst>
          </p:cNvPr>
          <p:cNvSpPr>
            <a:spLocks noGrp="1"/>
          </p:cNvSpPr>
          <p:nvPr>
            <p:ph type="ftr" sz="quarter" idx="10"/>
          </p:nvPr>
        </p:nvSpPr>
        <p:spPr/>
        <p:txBody>
          <a:bodyPr/>
          <a:lstStyle/>
          <a:p>
            <a:r>
              <a:rPr lang="en-US"/>
              <a:t>Updated January 2023</a:t>
            </a:r>
            <a:endParaRPr lang="de-DE" dirty="0"/>
          </a:p>
        </p:txBody>
      </p:sp>
      <p:sp>
        <p:nvSpPr>
          <p:cNvPr id="11" name="Foliennummernplatzhalter 10">
            <a:extLst>
              <a:ext uri="{FF2B5EF4-FFF2-40B4-BE49-F238E27FC236}">
                <a16:creationId xmlns:a16="http://schemas.microsoft.com/office/drawing/2014/main" id="{E071F937-7337-4072-96C5-23EFCCDA83F7}"/>
              </a:ext>
            </a:extLst>
          </p:cNvPr>
          <p:cNvSpPr>
            <a:spLocks noGrp="1"/>
          </p:cNvSpPr>
          <p:nvPr>
            <p:ph type="sldNum" sz="quarter" idx="11"/>
          </p:nvPr>
        </p:nvSpPr>
        <p:spPr/>
        <p:txBody>
          <a:bodyPr/>
          <a:lstStyle/>
          <a:p>
            <a:fld id="{B227C86F-CC2D-492F-A88C-C748186E73FB}" type="slidenum">
              <a:rPr lang="de-DE" smtClean="0"/>
              <a:pPr/>
              <a:t>‹#›</a:t>
            </a:fld>
            <a:endParaRPr lang="de-DE" dirty="0"/>
          </a:p>
        </p:txBody>
      </p:sp>
      <p:pic>
        <p:nvPicPr>
          <p:cNvPr id="15" name="Grafik 14">
            <a:extLst>
              <a:ext uri="{FF2B5EF4-FFF2-40B4-BE49-F238E27FC236}">
                <a16:creationId xmlns:a16="http://schemas.microsoft.com/office/drawing/2014/main" id="{D5E6ED72-926A-4D9F-9FEE-4AE1475045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2216" y="1574173"/>
            <a:ext cx="745609" cy="652409"/>
          </a:xfrm>
          <a:prstGeom prst="rect">
            <a:avLst/>
          </a:prstGeom>
        </p:spPr>
      </p:pic>
      <p:sp>
        <p:nvSpPr>
          <p:cNvPr id="3" name="Textplatzhalter 2">
            <a:extLst>
              <a:ext uri="{FF2B5EF4-FFF2-40B4-BE49-F238E27FC236}">
                <a16:creationId xmlns:a16="http://schemas.microsoft.com/office/drawing/2014/main" id="{B064A8F8-F02E-49C7-A595-D4C6C2AD9E36}"/>
              </a:ext>
            </a:extLst>
          </p:cNvPr>
          <p:cNvSpPr>
            <a:spLocks noGrp="1"/>
          </p:cNvSpPr>
          <p:nvPr>
            <p:ph type="body" sz="quarter" idx="12" hasCustomPrompt="1"/>
          </p:nvPr>
        </p:nvSpPr>
        <p:spPr>
          <a:xfrm>
            <a:off x="1976437" y="1574174"/>
            <a:ext cx="9227127" cy="2915395"/>
          </a:xfrm>
        </p:spPr>
        <p:txBody>
          <a:bodyPr>
            <a:noAutofit/>
          </a:bodyPr>
          <a:lstStyle>
            <a:lvl1pPr marL="0" indent="0">
              <a:buNone/>
              <a:defRPr sz="3600">
                <a:solidFill>
                  <a:schemeClr val="accent2"/>
                </a:solidFill>
              </a:defRPr>
            </a:lvl1pPr>
          </a:lstStyle>
          <a:p>
            <a:pPr lvl="0"/>
            <a:r>
              <a:rPr lang="de-DE" dirty="0"/>
              <a:t>Lorem ipsum dolor sit amet, consectetuer adipiscing elit. Maecenas porttitor congue massa. Fusce posuere, magna sed pulvinar ultricies, purus lectus malesuada libero, sit amet commodo magna eros quis </a:t>
            </a:r>
            <a:r>
              <a:rPr lang="de-DE" dirty="0" err="1"/>
              <a:t>urna</a:t>
            </a:r>
            <a:r>
              <a:rPr lang="de-DE" dirty="0"/>
              <a:t>.</a:t>
            </a:r>
          </a:p>
        </p:txBody>
      </p:sp>
      <p:sp>
        <p:nvSpPr>
          <p:cNvPr id="5" name="Textplatzhalter 4">
            <a:extLst>
              <a:ext uri="{FF2B5EF4-FFF2-40B4-BE49-F238E27FC236}">
                <a16:creationId xmlns:a16="http://schemas.microsoft.com/office/drawing/2014/main" id="{E1587CB2-5A89-4578-A655-ED473AD125A7}"/>
              </a:ext>
            </a:extLst>
          </p:cNvPr>
          <p:cNvSpPr>
            <a:spLocks noGrp="1"/>
          </p:cNvSpPr>
          <p:nvPr>
            <p:ph type="body" sz="quarter" idx="13" hasCustomPrompt="1"/>
          </p:nvPr>
        </p:nvSpPr>
        <p:spPr>
          <a:xfrm>
            <a:off x="1976437" y="4299884"/>
            <a:ext cx="9227127" cy="845575"/>
          </a:xfrm>
        </p:spPr>
        <p:txBody>
          <a:bodyPr tIns="540000"/>
          <a:lstStyle>
            <a:lvl1pPr marL="0" indent="0">
              <a:buNone/>
              <a:defRPr sz="1600"/>
            </a:lvl1pPr>
          </a:lstStyle>
          <a:p>
            <a:pPr lvl="0"/>
            <a:r>
              <a:rPr lang="de-DE" dirty="0"/>
              <a:t>Name, </a:t>
            </a:r>
            <a:r>
              <a:rPr lang="de-DE" dirty="0" err="1"/>
              <a:t>Function</a:t>
            </a:r>
            <a:endParaRPr lang="de-DE" dirty="0"/>
          </a:p>
        </p:txBody>
      </p:sp>
      <p:pic>
        <p:nvPicPr>
          <p:cNvPr id="8" name="Grafik 7">
            <a:extLst>
              <a:ext uri="{FF2B5EF4-FFF2-40B4-BE49-F238E27FC236}">
                <a16:creationId xmlns:a16="http://schemas.microsoft.com/office/drawing/2014/main" id="{D0CBEBA7-DB50-44DF-B5F1-6E1B26F1E0E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5395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orient="horz" pos="1412" userDrawn="1">
          <p15:clr>
            <a:srgbClr val="FBAE40"/>
          </p15:clr>
        </p15:guide>
        <p15:guide id="3" orient="horz" pos="120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highlight standard">
    <p:spTree>
      <p:nvGrpSpPr>
        <p:cNvPr id="1" name=""/>
        <p:cNvGrpSpPr/>
        <p:nvPr/>
      </p:nvGrpSpPr>
      <p:grpSpPr>
        <a:xfrm>
          <a:off x="0" y="0"/>
          <a:ext cx="0" cy="0"/>
          <a:chOff x="0" y="0"/>
          <a:chExt cx="0" cy="0"/>
        </a:xfrm>
      </p:grpSpPr>
      <p:sp>
        <p:nvSpPr>
          <p:cNvPr id="17" name="Inhalt"/>
          <p:cNvSpPr>
            <a:spLocks noGrp="1"/>
          </p:cNvSpPr>
          <p:nvPr>
            <p:ph idx="1" hasCustomPrompt="1"/>
          </p:nvPr>
        </p:nvSpPr>
        <p:spPr bwMode="gray">
          <a:xfrm>
            <a:off x="550873" y="1558439"/>
            <a:ext cx="7344956" cy="2051525"/>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a:lvl4pPr>
            <a:lvl5pPr marL="1800060" indent="-270009" defTabSz="914430">
              <a:spcAft>
                <a:spcPts val="0"/>
              </a:spcAft>
              <a:buClr>
                <a:schemeClr val="accent2"/>
              </a:buClr>
              <a:buFont typeface="Wingdings" panose="05000000000000000000" pitchFamily="2" charset="2"/>
              <a:defRPr/>
            </a:lvl5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p:txBody>
      </p:sp>
      <p:sp>
        <p:nvSpPr>
          <p:cNvPr id="12" name="Textbox"/>
          <p:cNvSpPr>
            <a:spLocks noGrp="1" noChangeAspect="1"/>
          </p:cNvSpPr>
          <p:nvPr>
            <p:ph type="body" sz="quarter" idx="17" hasCustomPrompt="1"/>
          </p:nvPr>
        </p:nvSpPr>
        <p:spPr bwMode="gray">
          <a:xfrm>
            <a:off x="1" y="3753931"/>
            <a:ext cx="12192000" cy="2051525"/>
          </a:xfrm>
          <a:prstGeom prst="rect">
            <a:avLst/>
          </a:prstGeom>
          <a:solidFill>
            <a:schemeClr val="accent2"/>
          </a:solidFill>
        </p:spPr>
        <p:txBody>
          <a:bodyPr lIns="540000" tIns="252000" rIns="540000" bIns="252000" anchor="ctr" anchorCtr="0"/>
          <a:lstStyle>
            <a:lvl1pPr marL="0" indent="0" algn="ctr">
              <a:buFontTx/>
              <a:buNone/>
              <a:defRPr sz="2400">
                <a:solidFill>
                  <a:schemeClr val="bg1"/>
                </a:solidFill>
              </a:defRPr>
            </a:lvl1pPr>
            <a:lvl2pPr marL="632429" indent="0">
              <a:buFontTx/>
              <a:buNone/>
              <a:defRPr/>
            </a:lvl2pPr>
            <a:lvl3pPr marL="1108665" indent="0">
              <a:buFontTx/>
              <a:buNone/>
              <a:defRPr/>
            </a:lvl3pPr>
            <a:lvl4pPr marL="1652933" indent="0">
              <a:buFontTx/>
              <a:buNone/>
              <a:defRPr/>
            </a:lvl4pPr>
            <a:lvl5pPr marL="1925068" indent="0">
              <a:buFontTx/>
              <a:buNone/>
              <a:defRPr/>
            </a:lvl5pPr>
          </a:lstStyle>
          <a:p>
            <a:pPr lvl="0"/>
            <a:r>
              <a:rPr lang="de-DE" noProof="0" dirty="0" err="1"/>
              <a:t>Important</a:t>
            </a:r>
            <a:r>
              <a:rPr lang="de-DE" noProof="0" dirty="0"/>
              <a:t> </a:t>
            </a:r>
            <a:r>
              <a:rPr lang="de-DE" noProof="0" dirty="0" err="1"/>
              <a:t>or</a:t>
            </a:r>
            <a:r>
              <a:rPr lang="de-DE" noProof="0" dirty="0"/>
              <a:t> </a:t>
            </a:r>
            <a:r>
              <a:rPr lang="de-DE" noProof="0" dirty="0" err="1"/>
              <a:t>strategic</a:t>
            </a:r>
            <a:r>
              <a:rPr lang="de-DE" noProof="0" dirty="0"/>
              <a:t> </a:t>
            </a:r>
            <a:r>
              <a:rPr lang="de-DE" noProof="0" dirty="0" err="1"/>
              <a:t>statement</a:t>
            </a:r>
            <a:r>
              <a:rPr lang="de-DE" noProof="0" dirty="0"/>
              <a:t>, </a:t>
            </a:r>
            <a:r>
              <a:rPr lang="de-DE" noProof="0" dirty="0" err="1"/>
              <a:t>result</a:t>
            </a:r>
            <a:r>
              <a:rPr lang="de-DE" noProof="0" dirty="0"/>
              <a:t>, </a:t>
            </a:r>
            <a:r>
              <a:rPr lang="de-DE" noProof="0" dirty="0" err="1"/>
              <a:t>core</a:t>
            </a:r>
            <a:r>
              <a:rPr lang="de-DE" noProof="0" dirty="0"/>
              <a:t> </a:t>
            </a:r>
            <a:r>
              <a:rPr lang="de-DE" noProof="0" dirty="0" err="1"/>
              <a:t>information</a:t>
            </a:r>
            <a:endParaRPr lang="de-DE" noProof="0" dirty="0"/>
          </a:p>
        </p:txBody>
      </p:sp>
      <p:sp>
        <p:nvSpPr>
          <p:cNvPr id="3" name="Fußzeilenplatzhalter 2">
            <a:extLst>
              <a:ext uri="{FF2B5EF4-FFF2-40B4-BE49-F238E27FC236}">
                <a16:creationId xmlns:a16="http://schemas.microsoft.com/office/drawing/2014/main" id="{F7C683B1-519A-42B9-8FFB-0290A2FD5E9C}"/>
              </a:ext>
            </a:extLst>
          </p:cNvPr>
          <p:cNvSpPr>
            <a:spLocks noGrp="1"/>
          </p:cNvSpPr>
          <p:nvPr>
            <p:ph type="ftr" sz="quarter" idx="18"/>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AB7AF2ED-79A8-413A-BBA9-39720F9F5367}"/>
              </a:ext>
            </a:extLst>
          </p:cNvPr>
          <p:cNvSpPr>
            <a:spLocks noGrp="1"/>
          </p:cNvSpPr>
          <p:nvPr>
            <p:ph type="sldNum" sz="quarter" idx="19"/>
          </p:nvPr>
        </p:nvSpPr>
        <p:spPr/>
        <p:txBody>
          <a:bodyPr/>
          <a:lstStyle/>
          <a:p>
            <a:fld id="{B227C86F-CC2D-492F-A88C-C748186E73FB}" type="slidenum">
              <a:rPr lang="de-DE" smtClean="0"/>
              <a:pPr/>
              <a:t>‹#›</a:t>
            </a:fld>
            <a:endParaRPr lang="de-DE" dirty="0"/>
          </a:p>
        </p:txBody>
      </p:sp>
      <p:sp>
        <p:nvSpPr>
          <p:cNvPr id="9" name="Text">
            <a:extLst>
              <a:ext uri="{FF2B5EF4-FFF2-40B4-BE49-F238E27FC236}">
                <a16:creationId xmlns:a16="http://schemas.microsoft.com/office/drawing/2014/main" id="{856FC0A1-7251-4F3D-9916-71A19A0FBE54}"/>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0" name="Titel">
            <a:extLst>
              <a:ext uri="{FF2B5EF4-FFF2-40B4-BE49-F238E27FC236}">
                <a16:creationId xmlns:a16="http://schemas.microsoft.com/office/drawing/2014/main" id="{3BDBE152-9455-47C4-8185-3C4ADA66E010}"/>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77046A24-0B76-4796-B02D-43F0D4CE6A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270505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userDrawn="1">
          <p15:clr>
            <a:srgbClr val="FBAE40"/>
          </p15:clr>
        </p15:guide>
        <p15:guide id="2" orient="horz" pos="3839" userDrawn="1">
          <p15:clr>
            <a:srgbClr val="FBAE40"/>
          </p15:clr>
        </p15:guide>
        <p15:guide id="3" orient="horz" pos="4065" userDrawn="1">
          <p15:clr>
            <a:srgbClr val="FBAE40"/>
          </p15:clr>
        </p15:guide>
        <p15:guide id="4" orient="horz" pos="365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tatement black">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DD7D2FF-162D-41C3-BA6A-1D66884CFB8A}"/>
              </a:ext>
            </a:extLst>
          </p:cNvPr>
          <p:cNvSpPr/>
          <p:nvPr userDrawn="1"/>
        </p:nvSpPr>
        <p:spPr>
          <a:xfrm>
            <a:off x="0" y="0"/>
            <a:ext cx="12192000" cy="6858000"/>
          </a:xfrm>
          <a:prstGeom prst="rect">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800" dirty="0"/>
          </a:p>
        </p:txBody>
      </p:sp>
      <p:sp>
        <p:nvSpPr>
          <p:cNvPr id="3" name="Textbox">
            <a:extLst>
              <a:ext uri="{FF2B5EF4-FFF2-40B4-BE49-F238E27FC236}">
                <a16:creationId xmlns:a16="http://schemas.microsoft.com/office/drawing/2014/main" id="{BDDA45C4-D567-4C8B-9AFC-70DE6BCFD4DE}"/>
              </a:ext>
            </a:extLst>
          </p:cNvPr>
          <p:cNvSpPr>
            <a:spLocks noGrp="1" noChangeAspect="1"/>
          </p:cNvSpPr>
          <p:nvPr>
            <p:ph type="body" sz="quarter" idx="17" hasCustomPrompt="1"/>
          </p:nvPr>
        </p:nvSpPr>
        <p:spPr bwMode="gray">
          <a:xfrm>
            <a:off x="550863" y="909637"/>
            <a:ext cx="11090275" cy="4895851"/>
          </a:xfrm>
          <a:prstGeom prst="rect">
            <a:avLst/>
          </a:prstGeom>
          <a:solidFill>
            <a:schemeClr val="tx1"/>
          </a:solidFill>
          <a:ln>
            <a:noFill/>
          </a:ln>
        </p:spPr>
        <p:txBody>
          <a:bodyPr lIns="540000" tIns="540000" rIns="540000" bIns="540000" anchor="ctr" anchorCtr="0"/>
          <a:lstStyle>
            <a:lvl1pPr marL="0" indent="0" algn="ctr">
              <a:buFontTx/>
              <a:buNone/>
              <a:defRPr sz="2400" baseline="0">
                <a:solidFill>
                  <a:schemeClr val="bg1"/>
                </a:solidFill>
              </a:defRPr>
            </a:lvl1pPr>
            <a:lvl2pPr marL="632429" indent="0">
              <a:buFontTx/>
              <a:buNone/>
              <a:defRPr/>
            </a:lvl2pPr>
            <a:lvl3pPr marL="1108665" indent="0">
              <a:buFontTx/>
              <a:buNone/>
              <a:defRPr/>
            </a:lvl3pPr>
            <a:lvl4pPr marL="1652933" indent="0">
              <a:buFontTx/>
              <a:buNone/>
              <a:defRPr/>
            </a:lvl4pPr>
            <a:lvl5pPr marL="1925068" indent="0">
              <a:buFontTx/>
              <a:buNone/>
              <a:defRPr/>
            </a:lvl5pPr>
          </a:lstStyle>
          <a:p>
            <a:pPr lvl="0"/>
            <a:r>
              <a:rPr lang="de-DE" noProof="0" dirty="0" err="1">
                <a:solidFill>
                  <a:schemeClr val="bg1"/>
                </a:solidFill>
              </a:rPr>
              <a:t>S</a:t>
            </a:r>
            <a:r>
              <a:rPr lang="de-DE" noProof="0" dirty="0" err="1"/>
              <a:t>ummaries</a:t>
            </a:r>
            <a:r>
              <a:rPr lang="de-DE" noProof="0" dirty="0"/>
              <a:t>, </a:t>
            </a:r>
            <a:r>
              <a:rPr lang="de-DE" noProof="0" dirty="0" err="1">
                <a:solidFill>
                  <a:schemeClr val="bg1"/>
                </a:solidFill>
              </a:rPr>
              <a:t>exceptional</a:t>
            </a:r>
            <a:r>
              <a:rPr lang="de-DE" noProof="0" dirty="0">
                <a:solidFill>
                  <a:schemeClr val="bg1"/>
                </a:solidFill>
              </a:rPr>
              <a:t> </a:t>
            </a:r>
            <a:r>
              <a:rPr lang="de-DE" noProof="0" dirty="0" err="1">
                <a:solidFill>
                  <a:schemeClr val="bg1"/>
                </a:solidFill>
              </a:rPr>
              <a:t>cases</a:t>
            </a:r>
            <a:r>
              <a:rPr lang="de-DE" noProof="0" dirty="0">
                <a:solidFill>
                  <a:schemeClr val="bg1"/>
                </a:solidFill>
              </a:rPr>
              <a:t>, </a:t>
            </a:r>
            <a:br>
              <a:rPr lang="de-DE" noProof="0" dirty="0">
                <a:solidFill>
                  <a:schemeClr val="bg1"/>
                </a:solidFill>
              </a:rPr>
            </a:br>
            <a:r>
              <a:rPr lang="de-DE" noProof="0" dirty="0" err="1">
                <a:solidFill>
                  <a:schemeClr val="bg1"/>
                </a:solidFill>
              </a:rPr>
              <a:t>core</a:t>
            </a:r>
            <a:r>
              <a:rPr lang="de-DE" noProof="0" dirty="0">
                <a:solidFill>
                  <a:schemeClr val="bg1"/>
                </a:solidFill>
              </a:rPr>
              <a:t> </a:t>
            </a:r>
            <a:r>
              <a:rPr lang="de-DE" noProof="0" dirty="0" err="1">
                <a:solidFill>
                  <a:schemeClr val="bg1"/>
                </a:solidFill>
              </a:rPr>
              <a:t>information</a:t>
            </a:r>
            <a:r>
              <a:rPr lang="de-DE" noProof="0" dirty="0">
                <a:solidFill>
                  <a:schemeClr val="bg1"/>
                </a:solidFill>
              </a:rPr>
              <a:t> </a:t>
            </a:r>
            <a:r>
              <a:rPr lang="de-DE" noProof="0" dirty="0" err="1">
                <a:solidFill>
                  <a:schemeClr val="bg1"/>
                </a:solidFill>
              </a:rPr>
              <a:t>or</a:t>
            </a:r>
            <a:r>
              <a:rPr lang="de-DE" noProof="0" dirty="0">
                <a:solidFill>
                  <a:schemeClr val="bg1"/>
                </a:solidFill>
              </a:rPr>
              <a:t> </a:t>
            </a:r>
            <a:r>
              <a:rPr lang="de-DE" noProof="0" dirty="0" err="1">
                <a:solidFill>
                  <a:schemeClr val="bg1"/>
                </a:solidFill>
              </a:rPr>
              <a:t>strategic</a:t>
            </a:r>
            <a:r>
              <a:rPr lang="de-DE" noProof="0" dirty="0">
                <a:solidFill>
                  <a:schemeClr val="bg1"/>
                </a:solidFill>
              </a:rPr>
              <a:t> </a:t>
            </a:r>
            <a:r>
              <a:rPr lang="de-DE" noProof="0" dirty="0" err="1">
                <a:solidFill>
                  <a:schemeClr val="bg1"/>
                </a:solidFill>
              </a:rPr>
              <a:t>statement</a:t>
            </a:r>
            <a:endParaRPr lang="de-DE" noProof="0" dirty="0"/>
          </a:p>
        </p:txBody>
      </p:sp>
      <p:sp>
        <p:nvSpPr>
          <p:cNvPr id="4" name="Freihandform: Form 3">
            <a:extLst>
              <a:ext uri="{FF2B5EF4-FFF2-40B4-BE49-F238E27FC236}">
                <a16:creationId xmlns:a16="http://schemas.microsoft.com/office/drawing/2014/main" id="{EB236828-2820-4813-97DD-7BBD6E6EC490}"/>
              </a:ext>
            </a:extLst>
          </p:cNvPr>
          <p:cNvSpPr/>
          <p:nvPr userDrawn="1"/>
        </p:nvSpPr>
        <p:spPr>
          <a:xfrm>
            <a:off x="10238618" y="6129944"/>
            <a:ext cx="1255237" cy="309274"/>
          </a:xfrm>
          <a:custGeom>
            <a:avLst/>
            <a:gdLst>
              <a:gd name="connsiteX0" fmla="*/ 1253854 w 1255237"/>
              <a:gd name="connsiteY0" fmla="*/ 161377 h 309274"/>
              <a:gd name="connsiteX1" fmla="*/ 1253854 w 1255237"/>
              <a:gd name="connsiteY1" fmla="*/ 199670 h 309274"/>
              <a:gd name="connsiteX2" fmla="*/ 1218004 w 1255237"/>
              <a:gd name="connsiteY2" fmla="*/ 199670 h 309274"/>
              <a:gd name="connsiteX3" fmla="*/ 1218004 w 1255237"/>
              <a:gd name="connsiteY3" fmla="*/ 305471 h 309274"/>
              <a:gd name="connsiteX4" fmla="*/ 1165628 w 1255237"/>
              <a:gd name="connsiteY4" fmla="*/ 305471 h 309274"/>
              <a:gd name="connsiteX5" fmla="*/ 1165628 w 1255237"/>
              <a:gd name="connsiteY5" fmla="*/ 199670 h 309274"/>
              <a:gd name="connsiteX6" fmla="*/ 1118721 w 1255237"/>
              <a:gd name="connsiteY6" fmla="*/ 199670 h 309274"/>
              <a:gd name="connsiteX7" fmla="*/ 1087528 w 1255237"/>
              <a:gd name="connsiteY7" fmla="*/ 233890 h 309274"/>
              <a:gd name="connsiteX8" fmla="*/ 1124075 w 1255237"/>
              <a:gd name="connsiteY8" fmla="*/ 269215 h 309274"/>
              <a:gd name="connsiteX9" fmla="*/ 1151137 w 1255237"/>
              <a:gd name="connsiteY9" fmla="*/ 259845 h 309274"/>
              <a:gd name="connsiteX10" fmla="*/ 1151137 w 1255237"/>
              <a:gd name="connsiteY10" fmla="*/ 298953 h 309274"/>
              <a:gd name="connsiteX11" fmla="*/ 1114298 w 1255237"/>
              <a:gd name="connsiteY11" fmla="*/ 308614 h 309274"/>
              <a:gd name="connsiteX12" fmla="*/ 1035733 w 1255237"/>
              <a:gd name="connsiteY12" fmla="*/ 233890 h 309274"/>
              <a:gd name="connsiteX13" fmla="*/ 1114356 w 1255237"/>
              <a:gd name="connsiteY13" fmla="*/ 161377 h 309274"/>
              <a:gd name="connsiteX14" fmla="*/ 768554 w 1255237"/>
              <a:gd name="connsiteY14" fmla="*/ 161377 h 309274"/>
              <a:gd name="connsiteX15" fmla="*/ 715362 w 1255237"/>
              <a:gd name="connsiteY15" fmla="*/ 161377 h 309274"/>
              <a:gd name="connsiteX16" fmla="*/ 715362 w 1255237"/>
              <a:gd name="connsiteY16" fmla="*/ 223473 h 309274"/>
              <a:gd name="connsiteX17" fmla="*/ 653092 w 1255237"/>
              <a:gd name="connsiteY17" fmla="*/ 161377 h 309274"/>
              <a:gd name="connsiteX18" fmla="*/ 611714 w 1255237"/>
              <a:gd name="connsiteY18" fmla="*/ 161377 h 309274"/>
              <a:gd name="connsiteX19" fmla="*/ 611714 w 1255237"/>
              <a:gd name="connsiteY19" fmla="*/ 305471 h 309274"/>
              <a:gd name="connsiteX20" fmla="*/ 664091 w 1255237"/>
              <a:gd name="connsiteY20" fmla="*/ 305471 h 309274"/>
              <a:gd name="connsiteX21" fmla="*/ 664091 w 1255237"/>
              <a:gd name="connsiteY21" fmla="*/ 244482 h 309274"/>
              <a:gd name="connsiteX22" fmla="*/ 724732 w 1255237"/>
              <a:gd name="connsiteY22" fmla="*/ 305471 h 309274"/>
              <a:gd name="connsiteX23" fmla="*/ 768496 w 1255237"/>
              <a:gd name="connsiteY23" fmla="*/ 305471 h 309274"/>
              <a:gd name="connsiteX24" fmla="*/ 768496 w 1255237"/>
              <a:gd name="connsiteY24" fmla="*/ 161377 h 309274"/>
              <a:gd name="connsiteX25" fmla="*/ 432004 w 1255237"/>
              <a:gd name="connsiteY25" fmla="*/ 165684 h 309274"/>
              <a:gd name="connsiteX26" fmla="*/ 389462 w 1255237"/>
              <a:gd name="connsiteY26" fmla="*/ 158293 h 309274"/>
              <a:gd name="connsiteX27" fmla="*/ 312469 w 1255237"/>
              <a:gd name="connsiteY27" fmla="*/ 233948 h 309274"/>
              <a:gd name="connsiteX28" fmla="*/ 393944 w 1255237"/>
              <a:gd name="connsiteY28" fmla="*/ 308672 h 309274"/>
              <a:gd name="connsiteX29" fmla="*/ 432993 w 1255237"/>
              <a:gd name="connsiteY29" fmla="*/ 300467 h 309274"/>
              <a:gd name="connsiteX30" fmla="*/ 432993 w 1255237"/>
              <a:gd name="connsiteY30" fmla="*/ 258565 h 309274"/>
              <a:gd name="connsiteX31" fmla="*/ 401625 w 1255237"/>
              <a:gd name="connsiteY31" fmla="*/ 268226 h 309274"/>
              <a:gd name="connsiteX32" fmla="*/ 366707 w 1255237"/>
              <a:gd name="connsiteY32" fmla="*/ 233948 h 309274"/>
              <a:gd name="connsiteX33" fmla="*/ 401800 w 1255237"/>
              <a:gd name="connsiteY33" fmla="*/ 198506 h 309274"/>
              <a:gd name="connsiteX34" fmla="*/ 401975 w 1255237"/>
              <a:gd name="connsiteY34" fmla="*/ 198506 h 309274"/>
              <a:gd name="connsiteX35" fmla="*/ 431945 w 1255237"/>
              <a:gd name="connsiteY35" fmla="*/ 208516 h 309274"/>
              <a:gd name="connsiteX36" fmla="*/ 431945 w 1255237"/>
              <a:gd name="connsiteY36" fmla="*/ 165742 h 309274"/>
              <a:gd name="connsiteX37" fmla="*/ 899146 w 1255237"/>
              <a:gd name="connsiteY37" fmla="*/ 161377 h 309274"/>
              <a:gd name="connsiteX38" fmla="*/ 775304 w 1255237"/>
              <a:gd name="connsiteY38" fmla="*/ 161377 h 309274"/>
              <a:gd name="connsiteX39" fmla="*/ 775304 w 1255237"/>
              <a:gd name="connsiteY39" fmla="*/ 199728 h 309274"/>
              <a:gd name="connsiteX40" fmla="*/ 812026 w 1255237"/>
              <a:gd name="connsiteY40" fmla="*/ 199728 h 309274"/>
              <a:gd name="connsiteX41" fmla="*/ 812026 w 1255237"/>
              <a:gd name="connsiteY41" fmla="*/ 305530 h 309274"/>
              <a:gd name="connsiteX42" fmla="*/ 863880 w 1255237"/>
              <a:gd name="connsiteY42" fmla="*/ 305530 h 309274"/>
              <a:gd name="connsiteX43" fmla="*/ 863880 w 1255237"/>
              <a:gd name="connsiteY43" fmla="*/ 199670 h 309274"/>
              <a:gd name="connsiteX44" fmla="*/ 899379 w 1255237"/>
              <a:gd name="connsiteY44" fmla="*/ 199670 h 309274"/>
              <a:gd name="connsiteX45" fmla="*/ 899379 w 1255237"/>
              <a:gd name="connsiteY45" fmla="*/ 161377 h 309274"/>
              <a:gd name="connsiteX46" fmla="*/ 1169411 w 1255237"/>
              <a:gd name="connsiteY46" fmla="*/ 104752 h 309274"/>
              <a:gd name="connsiteX47" fmla="*/ 1193911 w 1255237"/>
              <a:gd name="connsiteY47" fmla="*/ 143569 h 309274"/>
              <a:gd name="connsiteX48" fmla="*/ 1254319 w 1255237"/>
              <a:gd name="connsiteY48" fmla="*/ 143569 h 309274"/>
              <a:gd name="connsiteX49" fmla="*/ 1200138 w 1255237"/>
              <a:gd name="connsiteY49" fmla="*/ 69834 h 309274"/>
              <a:gd name="connsiteX50" fmla="*/ 1254028 w 1255237"/>
              <a:gd name="connsiteY50" fmla="*/ -409 h 309274"/>
              <a:gd name="connsiteX51" fmla="*/ 1194493 w 1255237"/>
              <a:gd name="connsiteY51" fmla="*/ -409 h 309274"/>
              <a:gd name="connsiteX52" fmla="*/ 1169294 w 1255237"/>
              <a:gd name="connsiteY52" fmla="*/ 33869 h 309274"/>
              <a:gd name="connsiteX53" fmla="*/ 1169643 w 1255237"/>
              <a:gd name="connsiteY53" fmla="*/ 33869 h 309274"/>
              <a:gd name="connsiteX54" fmla="*/ 1144619 w 1255237"/>
              <a:gd name="connsiteY54" fmla="*/ -409 h 309274"/>
              <a:gd name="connsiteX55" fmla="*/ 1084968 w 1255237"/>
              <a:gd name="connsiteY55" fmla="*/ -409 h 309274"/>
              <a:gd name="connsiteX56" fmla="*/ 1138799 w 1255237"/>
              <a:gd name="connsiteY56" fmla="*/ 69834 h 309274"/>
              <a:gd name="connsiteX57" fmla="*/ 1084618 w 1255237"/>
              <a:gd name="connsiteY57" fmla="*/ 143569 h 309274"/>
              <a:gd name="connsiteX58" fmla="*/ 1145142 w 1255237"/>
              <a:gd name="connsiteY58" fmla="*/ 143569 h 309274"/>
              <a:gd name="connsiteX59" fmla="*/ 1169643 w 1255237"/>
              <a:gd name="connsiteY59" fmla="*/ 104752 h 309274"/>
              <a:gd name="connsiteX60" fmla="*/ 1022115 w 1255237"/>
              <a:gd name="connsiteY60" fmla="*/ -409 h 309274"/>
              <a:gd name="connsiteX61" fmla="*/ 1022115 w 1255237"/>
              <a:gd name="connsiteY61" fmla="*/ 143569 h 309274"/>
              <a:gd name="connsiteX62" fmla="*/ 1078275 w 1255237"/>
              <a:gd name="connsiteY62" fmla="*/ 143569 h 309274"/>
              <a:gd name="connsiteX63" fmla="*/ 1078275 w 1255237"/>
              <a:gd name="connsiteY63" fmla="*/ -409 h 309274"/>
              <a:gd name="connsiteX64" fmla="*/ 512780 w 1255237"/>
              <a:gd name="connsiteY64" fmla="*/ -409 h 309274"/>
              <a:gd name="connsiteX65" fmla="*/ 460403 w 1255237"/>
              <a:gd name="connsiteY65" fmla="*/ -409 h 309274"/>
              <a:gd name="connsiteX66" fmla="*/ 460403 w 1255237"/>
              <a:gd name="connsiteY66" fmla="*/ 143627 h 309274"/>
              <a:gd name="connsiteX67" fmla="*/ 512780 w 1255237"/>
              <a:gd name="connsiteY67" fmla="*/ 143627 h 309274"/>
              <a:gd name="connsiteX68" fmla="*/ 512780 w 1255237"/>
              <a:gd name="connsiteY68" fmla="*/ 91250 h 309274"/>
              <a:gd name="connsiteX69" fmla="*/ 557650 w 1255237"/>
              <a:gd name="connsiteY69" fmla="*/ 91250 h 309274"/>
              <a:gd name="connsiteX70" fmla="*/ 557650 w 1255237"/>
              <a:gd name="connsiteY70" fmla="*/ 143627 h 309274"/>
              <a:gd name="connsiteX71" fmla="*/ 610027 w 1255237"/>
              <a:gd name="connsiteY71" fmla="*/ 143627 h 309274"/>
              <a:gd name="connsiteX72" fmla="*/ 610027 w 1255237"/>
              <a:gd name="connsiteY72" fmla="*/ -467 h 309274"/>
              <a:gd name="connsiteX73" fmla="*/ 557650 w 1255237"/>
              <a:gd name="connsiteY73" fmla="*/ -467 h 309274"/>
              <a:gd name="connsiteX74" fmla="*/ 557650 w 1255237"/>
              <a:gd name="connsiteY74" fmla="*/ 48709 h 309274"/>
              <a:gd name="connsiteX75" fmla="*/ 512722 w 1255237"/>
              <a:gd name="connsiteY75" fmla="*/ 48709 h 309274"/>
              <a:gd name="connsiteX76" fmla="*/ 512722 w 1255237"/>
              <a:gd name="connsiteY76" fmla="*/ -467 h 309274"/>
              <a:gd name="connsiteX77" fmla="*/ 1004481 w 1255237"/>
              <a:gd name="connsiteY77" fmla="*/ -409 h 309274"/>
              <a:gd name="connsiteX78" fmla="*/ 952105 w 1255237"/>
              <a:gd name="connsiteY78" fmla="*/ -409 h 309274"/>
              <a:gd name="connsiteX79" fmla="*/ 952105 w 1255237"/>
              <a:gd name="connsiteY79" fmla="*/ 60639 h 309274"/>
              <a:gd name="connsiteX80" fmla="*/ 887682 w 1255237"/>
              <a:gd name="connsiteY80" fmla="*/ -467 h 309274"/>
              <a:gd name="connsiteX81" fmla="*/ 846188 w 1255237"/>
              <a:gd name="connsiteY81" fmla="*/ -467 h 309274"/>
              <a:gd name="connsiteX82" fmla="*/ 846188 w 1255237"/>
              <a:gd name="connsiteY82" fmla="*/ 143569 h 309274"/>
              <a:gd name="connsiteX83" fmla="*/ 898564 w 1255237"/>
              <a:gd name="connsiteY83" fmla="*/ 143569 h 309274"/>
              <a:gd name="connsiteX84" fmla="*/ 898564 w 1255237"/>
              <a:gd name="connsiteY84" fmla="*/ 82637 h 309274"/>
              <a:gd name="connsiteX85" fmla="*/ 960485 w 1255237"/>
              <a:gd name="connsiteY85" fmla="*/ 143569 h 309274"/>
              <a:gd name="connsiteX86" fmla="*/ 1004481 w 1255237"/>
              <a:gd name="connsiteY86" fmla="*/ 143569 h 309274"/>
              <a:gd name="connsiteX87" fmla="*/ 1004481 w 1255237"/>
              <a:gd name="connsiteY87" fmla="*/ -467 h 309274"/>
              <a:gd name="connsiteX88" fmla="*/ 158365 w 1255237"/>
              <a:gd name="connsiteY88" fmla="*/ 214161 h 309274"/>
              <a:gd name="connsiteX89" fmla="*/ 158365 w 1255237"/>
              <a:gd name="connsiteY89" fmla="*/ 187856 h 309274"/>
              <a:gd name="connsiteX90" fmla="*/ 169306 w 1255237"/>
              <a:gd name="connsiteY90" fmla="*/ 167895 h 309274"/>
              <a:gd name="connsiteX91" fmla="*/ 190430 w 1255237"/>
              <a:gd name="connsiteY91" fmla="*/ 130882 h 309274"/>
              <a:gd name="connsiteX92" fmla="*/ 175416 w 1255237"/>
              <a:gd name="connsiteY92" fmla="*/ 98641 h 309274"/>
              <a:gd name="connsiteX93" fmla="*/ 158481 w 1255237"/>
              <a:gd name="connsiteY93" fmla="*/ 78971 h 309274"/>
              <a:gd name="connsiteX94" fmla="*/ 158481 w 1255237"/>
              <a:gd name="connsiteY94" fmla="*/ 51037 h 309274"/>
              <a:gd name="connsiteX95" fmla="*/ 174136 w 1255237"/>
              <a:gd name="connsiteY95" fmla="*/ 34218 h 309274"/>
              <a:gd name="connsiteX96" fmla="*/ 268355 w 1255237"/>
              <a:gd name="connsiteY96" fmla="*/ 129834 h 309274"/>
              <a:gd name="connsiteX97" fmla="*/ 173903 w 1255237"/>
              <a:gd name="connsiteY97" fmla="*/ 227023 h 309274"/>
              <a:gd name="connsiteX98" fmla="*/ 158539 w 1255237"/>
              <a:gd name="connsiteY98" fmla="*/ 214161 h 309274"/>
              <a:gd name="connsiteX99" fmla="*/ 135843 w 1255237"/>
              <a:gd name="connsiteY99" fmla="*/ 187973 h 309274"/>
              <a:gd name="connsiteX100" fmla="*/ 135843 w 1255237"/>
              <a:gd name="connsiteY100" fmla="*/ 255713 h 309274"/>
              <a:gd name="connsiteX101" fmla="*/ 119839 w 1255237"/>
              <a:gd name="connsiteY101" fmla="*/ 271601 h 309274"/>
              <a:gd name="connsiteX102" fmla="*/ 50876 w 1255237"/>
              <a:gd name="connsiteY102" fmla="*/ 271601 h 309274"/>
              <a:gd name="connsiteX103" fmla="*/ 33824 w 1255237"/>
              <a:gd name="connsiteY103" fmla="*/ 255422 h 309274"/>
              <a:gd name="connsiteX104" fmla="*/ 33824 w 1255237"/>
              <a:gd name="connsiteY104" fmla="*/ 50222 h 309274"/>
              <a:gd name="connsiteX105" fmla="*/ 49654 w 1255237"/>
              <a:gd name="connsiteY105" fmla="*/ 34392 h 309274"/>
              <a:gd name="connsiteX106" fmla="*/ 119955 w 1255237"/>
              <a:gd name="connsiteY106" fmla="*/ 34392 h 309274"/>
              <a:gd name="connsiteX107" fmla="*/ 135668 w 1255237"/>
              <a:gd name="connsiteY107" fmla="*/ 51095 h 309274"/>
              <a:gd name="connsiteX108" fmla="*/ 135668 w 1255237"/>
              <a:gd name="connsiteY108" fmla="*/ 79029 h 309274"/>
              <a:gd name="connsiteX109" fmla="*/ 118733 w 1255237"/>
              <a:gd name="connsiteY109" fmla="*/ 98641 h 309274"/>
              <a:gd name="connsiteX110" fmla="*/ 103544 w 1255237"/>
              <a:gd name="connsiteY110" fmla="*/ 130824 h 309274"/>
              <a:gd name="connsiteX111" fmla="*/ 124611 w 1255237"/>
              <a:gd name="connsiteY111" fmla="*/ 167895 h 309274"/>
              <a:gd name="connsiteX112" fmla="*/ 135552 w 1255237"/>
              <a:gd name="connsiteY112" fmla="*/ 187973 h 309274"/>
              <a:gd name="connsiteX113" fmla="*/ 147482 w 1255237"/>
              <a:gd name="connsiteY113" fmla="*/ 151716 h 309274"/>
              <a:gd name="connsiteX114" fmla="*/ 126589 w 1255237"/>
              <a:gd name="connsiteY114" fmla="*/ 130940 h 309274"/>
              <a:gd name="connsiteX115" fmla="*/ 147366 w 1255237"/>
              <a:gd name="connsiteY115" fmla="*/ 110048 h 309274"/>
              <a:gd name="connsiteX116" fmla="*/ 168258 w 1255237"/>
              <a:gd name="connsiteY116" fmla="*/ 130824 h 309274"/>
              <a:gd name="connsiteX117" fmla="*/ 168258 w 1255237"/>
              <a:gd name="connsiteY117" fmla="*/ 130940 h 309274"/>
              <a:gd name="connsiteX118" fmla="*/ 147482 w 1255237"/>
              <a:gd name="connsiteY118" fmla="*/ 151716 h 309274"/>
              <a:gd name="connsiteX119" fmla="*/ 20555 w 1255237"/>
              <a:gd name="connsiteY119" fmla="*/ -467 h 309274"/>
              <a:gd name="connsiteX120" fmla="*/ -919 w 1255237"/>
              <a:gd name="connsiteY120" fmla="*/ 20949 h 309274"/>
              <a:gd name="connsiteX121" fmla="*/ -919 w 1255237"/>
              <a:gd name="connsiteY121" fmla="*/ 284113 h 309274"/>
              <a:gd name="connsiteX122" fmla="*/ 20497 w 1255237"/>
              <a:gd name="connsiteY122" fmla="*/ 305530 h 309274"/>
              <a:gd name="connsiteX123" fmla="*/ 20555 w 1255237"/>
              <a:gd name="connsiteY123" fmla="*/ 305530 h 309274"/>
              <a:gd name="connsiteX124" fmla="*/ 280868 w 1255237"/>
              <a:gd name="connsiteY124" fmla="*/ 305530 h 309274"/>
              <a:gd name="connsiteX125" fmla="*/ 302284 w 1255237"/>
              <a:gd name="connsiteY125" fmla="*/ 284113 h 309274"/>
              <a:gd name="connsiteX126" fmla="*/ 302284 w 1255237"/>
              <a:gd name="connsiteY126" fmla="*/ 20949 h 309274"/>
              <a:gd name="connsiteX127" fmla="*/ 280868 w 1255237"/>
              <a:gd name="connsiteY127" fmla="*/ -467 h 309274"/>
              <a:gd name="connsiteX128" fmla="*/ 373109 w 1255237"/>
              <a:gd name="connsiteY128" fmla="*/ 34043 h 309274"/>
              <a:gd name="connsiteX129" fmla="*/ 381373 w 1255237"/>
              <a:gd name="connsiteY129" fmla="*/ 34043 h 309274"/>
              <a:gd name="connsiteX130" fmla="*/ 399880 w 1255237"/>
              <a:gd name="connsiteY130" fmla="*/ 48604 h 309274"/>
              <a:gd name="connsiteX131" fmla="*/ 385331 w 1255237"/>
              <a:gd name="connsiteY131" fmla="*/ 67099 h 309274"/>
              <a:gd name="connsiteX132" fmla="*/ 381373 w 1255237"/>
              <a:gd name="connsiteY132" fmla="*/ 67099 h 309274"/>
              <a:gd name="connsiteX133" fmla="*/ 373167 w 1255237"/>
              <a:gd name="connsiteY133" fmla="*/ 67099 h 309274"/>
              <a:gd name="connsiteX134" fmla="*/ 373167 w 1255237"/>
              <a:gd name="connsiteY134" fmla="*/ 34043 h 309274"/>
              <a:gd name="connsiteX135" fmla="*/ 392547 w 1255237"/>
              <a:gd name="connsiteY135" fmla="*/ -467 h 309274"/>
              <a:gd name="connsiteX136" fmla="*/ 320558 w 1255237"/>
              <a:gd name="connsiteY136" fmla="*/ -467 h 309274"/>
              <a:gd name="connsiteX137" fmla="*/ 320558 w 1255237"/>
              <a:gd name="connsiteY137" fmla="*/ 143569 h 309274"/>
              <a:gd name="connsiteX138" fmla="*/ 372935 w 1255237"/>
              <a:gd name="connsiteY138" fmla="*/ 143569 h 309274"/>
              <a:gd name="connsiteX139" fmla="*/ 372935 w 1255237"/>
              <a:gd name="connsiteY139" fmla="*/ 102017 h 309274"/>
              <a:gd name="connsiteX140" fmla="*/ 392372 w 1255237"/>
              <a:gd name="connsiteY140" fmla="*/ 102017 h 309274"/>
              <a:gd name="connsiteX141" fmla="*/ 452140 w 1255237"/>
              <a:gd name="connsiteY141" fmla="*/ 50396 h 309274"/>
              <a:gd name="connsiteX142" fmla="*/ 392372 w 1255237"/>
              <a:gd name="connsiteY142" fmla="*/ -467 h 309274"/>
              <a:gd name="connsiteX143" fmla="*/ 699533 w 1255237"/>
              <a:gd name="connsiteY143" fmla="*/ 41260 h 309274"/>
              <a:gd name="connsiteX144" fmla="*/ 724208 w 1255237"/>
              <a:gd name="connsiteY144" fmla="*/ 72278 h 309274"/>
              <a:gd name="connsiteX145" fmla="*/ 699591 w 1255237"/>
              <a:gd name="connsiteY145" fmla="*/ 102424 h 309274"/>
              <a:gd name="connsiteX146" fmla="*/ 675207 w 1255237"/>
              <a:gd name="connsiteY146" fmla="*/ 72278 h 309274"/>
              <a:gd name="connsiteX147" fmla="*/ 699533 w 1255237"/>
              <a:gd name="connsiteY147" fmla="*/ 41260 h 309274"/>
              <a:gd name="connsiteX148" fmla="*/ 830765 w 1255237"/>
              <a:gd name="connsiteY148" fmla="*/ -467 h 309274"/>
              <a:gd name="connsiteX149" fmla="*/ 699707 w 1255237"/>
              <a:gd name="connsiteY149" fmla="*/ -467 h 309274"/>
              <a:gd name="connsiteX150" fmla="*/ 644305 w 1255237"/>
              <a:gd name="connsiteY150" fmla="*/ 18330 h 309274"/>
              <a:gd name="connsiteX151" fmla="*/ 624110 w 1255237"/>
              <a:gd name="connsiteY151" fmla="*/ 72045 h 309274"/>
              <a:gd name="connsiteX152" fmla="*/ 644305 w 1255237"/>
              <a:gd name="connsiteY152" fmla="*/ 122909 h 309274"/>
              <a:gd name="connsiteX153" fmla="*/ 699765 w 1255237"/>
              <a:gd name="connsiteY153" fmla="*/ 143569 h 309274"/>
              <a:gd name="connsiteX154" fmla="*/ 830765 w 1255237"/>
              <a:gd name="connsiteY154" fmla="*/ 143569 h 309274"/>
              <a:gd name="connsiteX155" fmla="*/ 830765 w 1255237"/>
              <a:gd name="connsiteY155" fmla="*/ 108651 h 309274"/>
              <a:gd name="connsiteX156" fmla="*/ 771812 w 1255237"/>
              <a:gd name="connsiteY156" fmla="*/ 108651 h 309274"/>
              <a:gd name="connsiteX157" fmla="*/ 771812 w 1255237"/>
              <a:gd name="connsiteY157" fmla="*/ 88515 h 309274"/>
              <a:gd name="connsiteX158" fmla="*/ 830009 w 1255237"/>
              <a:gd name="connsiteY158" fmla="*/ 88515 h 309274"/>
              <a:gd name="connsiteX159" fmla="*/ 830009 w 1255237"/>
              <a:gd name="connsiteY159" fmla="*/ 54237 h 309274"/>
              <a:gd name="connsiteX160" fmla="*/ 771812 w 1255237"/>
              <a:gd name="connsiteY160" fmla="*/ 54237 h 309274"/>
              <a:gd name="connsiteX161" fmla="*/ 771812 w 1255237"/>
              <a:gd name="connsiteY161" fmla="*/ 34334 h 309274"/>
              <a:gd name="connsiteX162" fmla="*/ 830765 w 1255237"/>
              <a:gd name="connsiteY162" fmla="*/ 34334 h 309274"/>
              <a:gd name="connsiteX163" fmla="*/ 830765 w 1255237"/>
              <a:gd name="connsiteY163" fmla="*/ -293 h 309274"/>
              <a:gd name="connsiteX164" fmla="*/ 948090 w 1255237"/>
              <a:gd name="connsiteY164" fmla="*/ 246111 h 309274"/>
              <a:gd name="connsiteX165" fmla="*/ 959322 w 1255237"/>
              <a:gd name="connsiteY165" fmla="*/ 210204 h 309274"/>
              <a:gd name="connsiteX166" fmla="*/ 970495 w 1255237"/>
              <a:gd name="connsiteY166" fmla="*/ 246111 h 309274"/>
              <a:gd name="connsiteX167" fmla="*/ 987314 w 1255237"/>
              <a:gd name="connsiteY167" fmla="*/ 161377 h 309274"/>
              <a:gd name="connsiteX168" fmla="*/ 931504 w 1255237"/>
              <a:gd name="connsiteY168" fmla="*/ 161377 h 309274"/>
              <a:gd name="connsiteX169" fmla="*/ 871969 w 1255237"/>
              <a:gd name="connsiteY169" fmla="*/ 305471 h 309274"/>
              <a:gd name="connsiteX170" fmla="*/ 925916 w 1255237"/>
              <a:gd name="connsiteY170" fmla="*/ 305471 h 309274"/>
              <a:gd name="connsiteX171" fmla="*/ 936159 w 1255237"/>
              <a:gd name="connsiteY171" fmla="*/ 279457 h 309274"/>
              <a:gd name="connsiteX172" fmla="*/ 982716 w 1255237"/>
              <a:gd name="connsiteY172" fmla="*/ 279457 h 309274"/>
              <a:gd name="connsiteX173" fmla="*/ 992959 w 1255237"/>
              <a:gd name="connsiteY173" fmla="*/ 305471 h 309274"/>
              <a:gd name="connsiteX174" fmla="*/ 1046267 w 1255237"/>
              <a:gd name="connsiteY174" fmla="*/ 305471 h 309274"/>
              <a:gd name="connsiteX175" fmla="*/ 987372 w 1255237"/>
              <a:gd name="connsiteY175" fmla="*/ 161377 h 309274"/>
              <a:gd name="connsiteX176" fmla="*/ 519881 w 1255237"/>
              <a:gd name="connsiteY176" fmla="*/ 202115 h 309274"/>
              <a:gd name="connsiteX177" fmla="*/ 544847 w 1255237"/>
              <a:gd name="connsiteY177" fmla="*/ 234064 h 309274"/>
              <a:gd name="connsiteX178" fmla="*/ 519881 w 1255237"/>
              <a:gd name="connsiteY178" fmla="*/ 265258 h 309274"/>
              <a:gd name="connsiteX179" fmla="*/ 495089 w 1255237"/>
              <a:gd name="connsiteY179" fmla="*/ 234064 h 309274"/>
              <a:gd name="connsiteX180" fmla="*/ 519881 w 1255237"/>
              <a:gd name="connsiteY180" fmla="*/ 202115 h 309274"/>
              <a:gd name="connsiteX181" fmla="*/ 597805 w 1255237"/>
              <a:gd name="connsiteY181" fmla="*/ 233831 h 309274"/>
              <a:gd name="connsiteX182" fmla="*/ 519531 w 1255237"/>
              <a:gd name="connsiteY182" fmla="*/ 158176 h 309274"/>
              <a:gd name="connsiteX183" fmla="*/ 442363 w 1255237"/>
              <a:gd name="connsiteY183" fmla="*/ 233831 h 309274"/>
              <a:gd name="connsiteX184" fmla="*/ 519531 w 1255237"/>
              <a:gd name="connsiteY184" fmla="*/ 308497 h 309274"/>
              <a:gd name="connsiteX185" fmla="*/ 597805 w 1255237"/>
              <a:gd name="connsiteY185" fmla="*/ 233831 h 30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237" h="309274">
                <a:moveTo>
                  <a:pt x="1253854" y="161377"/>
                </a:moveTo>
                <a:lnTo>
                  <a:pt x="1253854" y="199670"/>
                </a:lnTo>
                <a:lnTo>
                  <a:pt x="1218004" y="199670"/>
                </a:lnTo>
                <a:lnTo>
                  <a:pt x="1218004" y="305471"/>
                </a:lnTo>
                <a:lnTo>
                  <a:pt x="1165628" y="305471"/>
                </a:lnTo>
                <a:lnTo>
                  <a:pt x="1165628" y="199670"/>
                </a:lnTo>
                <a:lnTo>
                  <a:pt x="1118721" y="199670"/>
                </a:lnTo>
                <a:cubicBezTo>
                  <a:pt x="1097247" y="199670"/>
                  <a:pt x="1087528" y="216140"/>
                  <a:pt x="1087528" y="233890"/>
                </a:cubicBezTo>
                <a:cubicBezTo>
                  <a:pt x="1087528" y="253793"/>
                  <a:pt x="1104230" y="268226"/>
                  <a:pt x="1124075" y="269215"/>
                </a:cubicBezTo>
                <a:cubicBezTo>
                  <a:pt x="1134027" y="270175"/>
                  <a:pt x="1143921" y="266753"/>
                  <a:pt x="1151137" y="259845"/>
                </a:cubicBezTo>
                <a:lnTo>
                  <a:pt x="1151137" y="298953"/>
                </a:lnTo>
                <a:cubicBezTo>
                  <a:pt x="1140021" y="305599"/>
                  <a:pt x="1127218" y="308946"/>
                  <a:pt x="1114298" y="308614"/>
                </a:cubicBezTo>
                <a:cubicBezTo>
                  <a:pt x="1071990" y="308963"/>
                  <a:pt x="1035617" y="276315"/>
                  <a:pt x="1035733" y="233890"/>
                </a:cubicBezTo>
                <a:cubicBezTo>
                  <a:pt x="1035733" y="192570"/>
                  <a:pt x="1059711" y="161377"/>
                  <a:pt x="1114356" y="161377"/>
                </a:cubicBezTo>
                <a:close/>
                <a:moveTo>
                  <a:pt x="768554" y="161377"/>
                </a:moveTo>
                <a:lnTo>
                  <a:pt x="715362" y="161377"/>
                </a:lnTo>
                <a:lnTo>
                  <a:pt x="715362" y="223473"/>
                </a:lnTo>
                <a:lnTo>
                  <a:pt x="653092" y="161377"/>
                </a:lnTo>
                <a:lnTo>
                  <a:pt x="611714" y="161377"/>
                </a:lnTo>
                <a:lnTo>
                  <a:pt x="611714" y="305471"/>
                </a:lnTo>
                <a:lnTo>
                  <a:pt x="664091" y="305471"/>
                </a:lnTo>
                <a:lnTo>
                  <a:pt x="664091" y="244482"/>
                </a:lnTo>
                <a:lnTo>
                  <a:pt x="724732" y="305471"/>
                </a:lnTo>
                <a:lnTo>
                  <a:pt x="768496" y="305471"/>
                </a:lnTo>
                <a:lnTo>
                  <a:pt x="768496" y="161377"/>
                </a:lnTo>
                <a:close/>
                <a:moveTo>
                  <a:pt x="432004" y="165684"/>
                </a:moveTo>
                <a:cubicBezTo>
                  <a:pt x="418619" y="159945"/>
                  <a:pt x="404012" y="157414"/>
                  <a:pt x="389462" y="158293"/>
                </a:cubicBezTo>
                <a:cubicBezTo>
                  <a:pt x="347445" y="158223"/>
                  <a:pt x="313109" y="191924"/>
                  <a:pt x="312469" y="233948"/>
                </a:cubicBezTo>
                <a:cubicBezTo>
                  <a:pt x="312469" y="277013"/>
                  <a:pt x="345466" y="308672"/>
                  <a:pt x="393944" y="308672"/>
                </a:cubicBezTo>
                <a:cubicBezTo>
                  <a:pt x="407445" y="309481"/>
                  <a:pt x="420947" y="306647"/>
                  <a:pt x="432993" y="300467"/>
                </a:cubicBezTo>
                <a:lnTo>
                  <a:pt x="432993" y="258565"/>
                </a:lnTo>
                <a:cubicBezTo>
                  <a:pt x="423740" y="264833"/>
                  <a:pt x="412799" y="268196"/>
                  <a:pt x="401625" y="268226"/>
                </a:cubicBezTo>
                <a:cubicBezTo>
                  <a:pt x="382595" y="268232"/>
                  <a:pt x="367057" y="252984"/>
                  <a:pt x="366707" y="233948"/>
                </a:cubicBezTo>
                <a:cubicBezTo>
                  <a:pt x="366591" y="214470"/>
                  <a:pt x="382304" y="198605"/>
                  <a:pt x="401800" y="198506"/>
                </a:cubicBezTo>
                <a:cubicBezTo>
                  <a:pt x="401858" y="198506"/>
                  <a:pt x="401917" y="198506"/>
                  <a:pt x="401975" y="198506"/>
                </a:cubicBezTo>
                <a:cubicBezTo>
                  <a:pt x="412799" y="198326"/>
                  <a:pt x="423391" y="201858"/>
                  <a:pt x="431945" y="208516"/>
                </a:cubicBezTo>
                <a:cubicBezTo>
                  <a:pt x="431945" y="208516"/>
                  <a:pt x="431945" y="165218"/>
                  <a:pt x="431945" y="165742"/>
                </a:cubicBezTo>
                <a:close/>
                <a:moveTo>
                  <a:pt x="899146" y="161377"/>
                </a:moveTo>
                <a:lnTo>
                  <a:pt x="775304" y="161377"/>
                </a:lnTo>
                <a:lnTo>
                  <a:pt x="775304" y="199728"/>
                </a:lnTo>
                <a:lnTo>
                  <a:pt x="812026" y="199728"/>
                </a:lnTo>
                <a:lnTo>
                  <a:pt x="812026" y="305530"/>
                </a:lnTo>
                <a:lnTo>
                  <a:pt x="863880" y="305530"/>
                </a:lnTo>
                <a:lnTo>
                  <a:pt x="863880" y="199670"/>
                </a:lnTo>
                <a:lnTo>
                  <a:pt x="899379" y="199670"/>
                </a:lnTo>
                <a:lnTo>
                  <a:pt x="899379" y="161377"/>
                </a:lnTo>
                <a:close/>
                <a:moveTo>
                  <a:pt x="1169411" y="104752"/>
                </a:moveTo>
                <a:lnTo>
                  <a:pt x="1193911" y="143569"/>
                </a:lnTo>
                <a:lnTo>
                  <a:pt x="1254319" y="143569"/>
                </a:lnTo>
                <a:cubicBezTo>
                  <a:pt x="1254319" y="143569"/>
                  <a:pt x="1218878" y="94626"/>
                  <a:pt x="1200138" y="69834"/>
                </a:cubicBezTo>
                <a:lnTo>
                  <a:pt x="1254028" y="-409"/>
                </a:lnTo>
                <a:lnTo>
                  <a:pt x="1194493" y="-409"/>
                </a:lnTo>
                <a:lnTo>
                  <a:pt x="1169294" y="33869"/>
                </a:lnTo>
                <a:lnTo>
                  <a:pt x="1169643" y="33869"/>
                </a:lnTo>
                <a:lnTo>
                  <a:pt x="1144619" y="-409"/>
                </a:lnTo>
                <a:lnTo>
                  <a:pt x="1084968" y="-409"/>
                </a:lnTo>
                <a:lnTo>
                  <a:pt x="1138799" y="69834"/>
                </a:lnTo>
                <a:cubicBezTo>
                  <a:pt x="1120060" y="94626"/>
                  <a:pt x="1084618" y="143569"/>
                  <a:pt x="1084618" y="143569"/>
                </a:cubicBezTo>
                <a:lnTo>
                  <a:pt x="1145142" y="143569"/>
                </a:lnTo>
                <a:lnTo>
                  <a:pt x="1169643" y="104752"/>
                </a:lnTo>
                <a:close/>
                <a:moveTo>
                  <a:pt x="1022115" y="-409"/>
                </a:moveTo>
                <a:lnTo>
                  <a:pt x="1022115" y="143569"/>
                </a:lnTo>
                <a:lnTo>
                  <a:pt x="1078275" y="143569"/>
                </a:lnTo>
                <a:lnTo>
                  <a:pt x="1078275" y="-409"/>
                </a:lnTo>
                <a:close/>
                <a:moveTo>
                  <a:pt x="512780" y="-409"/>
                </a:moveTo>
                <a:lnTo>
                  <a:pt x="460403" y="-409"/>
                </a:lnTo>
                <a:lnTo>
                  <a:pt x="460403" y="143627"/>
                </a:lnTo>
                <a:lnTo>
                  <a:pt x="512780" y="143627"/>
                </a:lnTo>
                <a:lnTo>
                  <a:pt x="512780" y="91250"/>
                </a:lnTo>
                <a:lnTo>
                  <a:pt x="557650" y="91250"/>
                </a:lnTo>
                <a:lnTo>
                  <a:pt x="557650" y="143627"/>
                </a:lnTo>
                <a:lnTo>
                  <a:pt x="610027" y="143627"/>
                </a:lnTo>
                <a:lnTo>
                  <a:pt x="610027" y="-467"/>
                </a:lnTo>
                <a:lnTo>
                  <a:pt x="557650" y="-467"/>
                </a:lnTo>
                <a:lnTo>
                  <a:pt x="557650" y="48709"/>
                </a:lnTo>
                <a:lnTo>
                  <a:pt x="512722" y="48709"/>
                </a:lnTo>
                <a:lnTo>
                  <a:pt x="512722" y="-467"/>
                </a:lnTo>
                <a:close/>
                <a:moveTo>
                  <a:pt x="1004481" y="-409"/>
                </a:moveTo>
                <a:lnTo>
                  <a:pt x="952105" y="-409"/>
                </a:lnTo>
                <a:lnTo>
                  <a:pt x="952105" y="60639"/>
                </a:lnTo>
                <a:lnTo>
                  <a:pt x="887682" y="-467"/>
                </a:lnTo>
                <a:lnTo>
                  <a:pt x="846188" y="-467"/>
                </a:lnTo>
                <a:lnTo>
                  <a:pt x="846188" y="143569"/>
                </a:lnTo>
                <a:lnTo>
                  <a:pt x="898564" y="143569"/>
                </a:lnTo>
                <a:lnTo>
                  <a:pt x="898564" y="82637"/>
                </a:lnTo>
                <a:lnTo>
                  <a:pt x="960485" y="143569"/>
                </a:lnTo>
                <a:lnTo>
                  <a:pt x="1004481" y="143569"/>
                </a:lnTo>
                <a:lnTo>
                  <a:pt x="1004481" y="-467"/>
                </a:lnTo>
                <a:close/>
                <a:moveTo>
                  <a:pt x="158365" y="214161"/>
                </a:moveTo>
                <a:lnTo>
                  <a:pt x="158365" y="187856"/>
                </a:lnTo>
                <a:cubicBezTo>
                  <a:pt x="158190" y="179726"/>
                  <a:pt x="162380" y="172126"/>
                  <a:pt x="169306" y="167895"/>
                </a:cubicBezTo>
                <a:cubicBezTo>
                  <a:pt x="182167" y="159910"/>
                  <a:pt x="190082" y="145996"/>
                  <a:pt x="190430" y="130882"/>
                </a:cubicBezTo>
                <a:cubicBezTo>
                  <a:pt x="190430" y="118445"/>
                  <a:pt x="184960" y="106643"/>
                  <a:pt x="175416" y="98641"/>
                </a:cubicBezTo>
                <a:cubicBezTo>
                  <a:pt x="168258" y="91949"/>
                  <a:pt x="158481" y="89330"/>
                  <a:pt x="158481" y="78971"/>
                </a:cubicBezTo>
                <a:lnTo>
                  <a:pt x="158481" y="51037"/>
                </a:lnTo>
                <a:cubicBezTo>
                  <a:pt x="158481" y="42133"/>
                  <a:pt x="158481" y="34218"/>
                  <a:pt x="174136" y="34218"/>
                </a:cubicBezTo>
                <a:cubicBezTo>
                  <a:pt x="225698" y="34218"/>
                  <a:pt x="268355" y="81764"/>
                  <a:pt x="268355" y="129834"/>
                </a:cubicBezTo>
                <a:cubicBezTo>
                  <a:pt x="268355" y="177905"/>
                  <a:pt x="228549" y="227023"/>
                  <a:pt x="173903" y="227023"/>
                </a:cubicBezTo>
                <a:cubicBezTo>
                  <a:pt x="157550" y="227023"/>
                  <a:pt x="158539" y="214161"/>
                  <a:pt x="158539" y="214161"/>
                </a:cubicBezTo>
                <a:close/>
                <a:moveTo>
                  <a:pt x="135843" y="187973"/>
                </a:moveTo>
                <a:lnTo>
                  <a:pt x="135843" y="255713"/>
                </a:lnTo>
                <a:cubicBezTo>
                  <a:pt x="135726" y="264495"/>
                  <a:pt x="128626" y="271572"/>
                  <a:pt x="119839" y="271601"/>
                </a:cubicBezTo>
                <a:lnTo>
                  <a:pt x="50876" y="271601"/>
                </a:lnTo>
                <a:cubicBezTo>
                  <a:pt x="41856" y="271415"/>
                  <a:pt x="34464" y="264408"/>
                  <a:pt x="33824" y="255422"/>
                </a:cubicBezTo>
                <a:lnTo>
                  <a:pt x="33824" y="50222"/>
                </a:lnTo>
                <a:cubicBezTo>
                  <a:pt x="33883" y="41504"/>
                  <a:pt x="40924" y="34457"/>
                  <a:pt x="49654" y="34392"/>
                </a:cubicBezTo>
                <a:lnTo>
                  <a:pt x="119955" y="34392"/>
                </a:lnTo>
                <a:cubicBezTo>
                  <a:pt x="135668" y="34392"/>
                  <a:pt x="135668" y="42307"/>
                  <a:pt x="135668" y="51095"/>
                </a:cubicBezTo>
                <a:lnTo>
                  <a:pt x="135668" y="79029"/>
                </a:lnTo>
                <a:cubicBezTo>
                  <a:pt x="135668" y="89737"/>
                  <a:pt x="126299" y="91774"/>
                  <a:pt x="118733" y="98641"/>
                </a:cubicBezTo>
                <a:cubicBezTo>
                  <a:pt x="108955" y="106440"/>
                  <a:pt x="103369" y="118323"/>
                  <a:pt x="103544" y="130824"/>
                </a:cubicBezTo>
                <a:cubicBezTo>
                  <a:pt x="104242" y="145833"/>
                  <a:pt x="112098" y="159608"/>
                  <a:pt x="124611" y="167895"/>
                </a:cubicBezTo>
                <a:cubicBezTo>
                  <a:pt x="131478" y="172266"/>
                  <a:pt x="135610" y="179848"/>
                  <a:pt x="135552" y="187973"/>
                </a:cubicBezTo>
                <a:close/>
                <a:moveTo>
                  <a:pt x="147482" y="151716"/>
                </a:moveTo>
                <a:cubicBezTo>
                  <a:pt x="135959" y="151751"/>
                  <a:pt x="126647" y="142446"/>
                  <a:pt x="126589" y="130940"/>
                </a:cubicBezTo>
                <a:cubicBezTo>
                  <a:pt x="126531" y="119435"/>
                  <a:pt x="135843" y="110083"/>
                  <a:pt x="147366" y="110048"/>
                </a:cubicBezTo>
                <a:cubicBezTo>
                  <a:pt x="158888" y="110019"/>
                  <a:pt x="168200" y="119319"/>
                  <a:pt x="168258" y="130824"/>
                </a:cubicBezTo>
                <a:cubicBezTo>
                  <a:pt x="168258" y="130865"/>
                  <a:pt x="168258" y="130900"/>
                  <a:pt x="168258" y="130940"/>
                </a:cubicBezTo>
                <a:cubicBezTo>
                  <a:pt x="168200" y="142399"/>
                  <a:pt x="158947" y="151687"/>
                  <a:pt x="147482" y="151716"/>
                </a:cubicBezTo>
                <a:close/>
                <a:moveTo>
                  <a:pt x="20555" y="-467"/>
                </a:moveTo>
                <a:cubicBezTo>
                  <a:pt x="8741" y="-467"/>
                  <a:pt x="-861" y="9112"/>
                  <a:pt x="-919" y="20949"/>
                </a:cubicBezTo>
                <a:lnTo>
                  <a:pt x="-919" y="284113"/>
                </a:lnTo>
                <a:cubicBezTo>
                  <a:pt x="-919" y="295939"/>
                  <a:pt x="8683" y="305530"/>
                  <a:pt x="20497" y="305530"/>
                </a:cubicBezTo>
                <a:cubicBezTo>
                  <a:pt x="20497" y="305530"/>
                  <a:pt x="20555" y="305530"/>
                  <a:pt x="20555" y="305530"/>
                </a:cubicBezTo>
                <a:lnTo>
                  <a:pt x="280868" y="305530"/>
                </a:lnTo>
                <a:cubicBezTo>
                  <a:pt x="292682" y="305530"/>
                  <a:pt x="302284" y="295939"/>
                  <a:pt x="302284" y="284113"/>
                </a:cubicBezTo>
                <a:lnTo>
                  <a:pt x="302284" y="20949"/>
                </a:lnTo>
                <a:cubicBezTo>
                  <a:pt x="302284" y="9123"/>
                  <a:pt x="292682" y="-467"/>
                  <a:pt x="280868" y="-467"/>
                </a:cubicBezTo>
                <a:close/>
                <a:moveTo>
                  <a:pt x="373109" y="34043"/>
                </a:moveTo>
                <a:lnTo>
                  <a:pt x="381373" y="34043"/>
                </a:lnTo>
                <a:cubicBezTo>
                  <a:pt x="390510" y="32961"/>
                  <a:pt x="398774" y="39479"/>
                  <a:pt x="399880" y="48604"/>
                </a:cubicBezTo>
                <a:cubicBezTo>
                  <a:pt x="400927" y="57735"/>
                  <a:pt x="394409" y="66016"/>
                  <a:pt x="385331" y="67099"/>
                </a:cubicBezTo>
                <a:cubicBezTo>
                  <a:pt x="383992" y="67256"/>
                  <a:pt x="382653" y="67256"/>
                  <a:pt x="381373" y="67099"/>
                </a:cubicBezTo>
                <a:lnTo>
                  <a:pt x="373167" y="67099"/>
                </a:lnTo>
                <a:lnTo>
                  <a:pt x="373167" y="34043"/>
                </a:lnTo>
                <a:close/>
                <a:moveTo>
                  <a:pt x="392547" y="-467"/>
                </a:moveTo>
                <a:lnTo>
                  <a:pt x="320558" y="-467"/>
                </a:lnTo>
                <a:lnTo>
                  <a:pt x="320558" y="143569"/>
                </a:lnTo>
                <a:lnTo>
                  <a:pt x="372935" y="143569"/>
                </a:lnTo>
                <a:lnTo>
                  <a:pt x="372935" y="102017"/>
                </a:lnTo>
                <a:lnTo>
                  <a:pt x="392372" y="102017"/>
                </a:lnTo>
                <a:cubicBezTo>
                  <a:pt x="422111" y="102017"/>
                  <a:pt x="452314" y="81182"/>
                  <a:pt x="452140" y="50396"/>
                </a:cubicBezTo>
                <a:cubicBezTo>
                  <a:pt x="451965" y="19610"/>
                  <a:pt x="431480" y="-467"/>
                  <a:pt x="392372" y="-467"/>
                </a:cubicBezTo>
                <a:close/>
                <a:moveTo>
                  <a:pt x="699533" y="41260"/>
                </a:moveTo>
                <a:cubicBezTo>
                  <a:pt x="715013" y="41260"/>
                  <a:pt x="724382" y="56798"/>
                  <a:pt x="724208" y="72278"/>
                </a:cubicBezTo>
                <a:cubicBezTo>
                  <a:pt x="724033" y="87759"/>
                  <a:pt x="714839" y="102482"/>
                  <a:pt x="699591" y="102424"/>
                </a:cubicBezTo>
                <a:cubicBezTo>
                  <a:pt x="684344" y="102366"/>
                  <a:pt x="675381" y="87351"/>
                  <a:pt x="675207" y="72278"/>
                </a:cubicBezTo>
                <a:cubicBezTo>
                  <a:pt x="675032" y="57205"/>
                  <a:pt x="684169" y="41376"/>
                  <a:pt x="699533" y="41260"/>
                </a:cubicBezTo>
                <a:close/>
                <a:moveTo>
                  <a:pt x="830765" y="-467"/>
                </a:moveTo>
                <a:lnTo>
                  <a:pt x="699707" y="-467"/>
                </a:lnTo>
                <a:cubicBezTo>
                  <a:pt x="674101" y="-467"/>
                  <a:pt x="658970" y="4363"/>
                  <a:pt x="644305" y="18330"/>
                </a:cubicBezTo>
                <a:cubicBezTo>
                  <a:pt x="629639" y="32297"/>
                  <a:pt x="624110" y="49698"/>
                  <a:pt x="624110" y="72045"/>
                </a:cubicBezTo>
                <a:cubicBezTo>
                  <a:pt x="624052" y="90965"/>
                  <a:pt x="631268" y="109175"/>
                  <a:pt x="644305" y="122909"/>
                </a:cubicBezTo>
                <a:cubicBezTo>
                  <a:pt x="659261" y="136952"/>
                  <a:pt x="679280" y="144389"/>
                  <a:pt x="699765" y="143569"/>
                </a:cubicBezTo>
                <a:lnTo>
                  <a:pt x="830765" y="143569"/>
                </a:lnTo>
                <a:lnTo>
                  <a:pt x="830765" y="108651"/>
                </a:lnTo>
                <a:lnTo>
                  <a:pt x="771812" y="108651"/>
                </a:lnTo>
                <a:lnTo>
                  <a:pt x="771812" y="88515"/>
                </a:lnTo>
                <a:lnTo>
                  <a:pt x="830009" y="88515"/>
                </a:lnTo>
                <a:lnTo>
                  <a:pt x="830009" y="54237"/>
                </a:lnTo>
                <a:lnTo>
                  <a:pt x="771812" y="54237"/>
                </a:lnTo>
                <a:lnTo>
                  <a:pt x="771812" y="34334"/>
                </a:lnTo>
                <a:lnTo>
                  <a:pt x="830765" y="34334"/>
                </a:lnTo>
                <a:lnTo>
                  <a:pt x="830765" y="-293"/>
                </a:lnTo>
                <a:close/>
                <a:moveTo>
                  <a:pt x="948090" y="246111"/>
                </a:moveTo>
                <a:lnTo>
                  <a:pt x="959322" y="210204"/>
                </a:lnTo>
                <a:lnTo>
                  <a:pt x="970495" y="246111"/>
                </a:lnTo>
                <a:close/>
                <a:moveTo>
                  <a:pt x="987314" y="161377"/>
                </a:moveTo>
                <a:lnTo>
                  <a:pt x="931504" y="161377"/>
                </a:lnTo>
                <a:lnTo>
                  <a:pt x="871969" y="305471"/>
                </a:lnTo>
                <a:lnTo>
                  <a:pt x="925916" y="305471"/>
                </a:lnTo>
                <a:lnTo>
                  <a:pt x="936159" y="279457"/>
                </a:lnTo>
                <a:lnTo>
                  <a:pt x="982716" y="279457"/>
                </a:lnTo>
                <a:lnTo>
                  <a:pt x="992959" y="305471"/>
                </a:lnTo>
                <a:lnTo>
                  <a:pt x="1046267" y="305471"/>
                </a:lnTo>
                <a:lnTo>
                  <a:pt x="987372" y="161377"/>
                </a:lnTo>
                <a:close/>
                <a:moveTo>
                  <a:pt x="519881" y="202115"/>
                </a:moveTo>
                <a:cubicBezTo>
                  <a:pt x="535710" y="202115"/>
                  <a:pt x="545080" y="218293"/>
                  <a:pt x="544847" y="234064"/>
                </a:cubicBezTo>
                <a:cubicBezTo>
                  <a:pt x="544614" y="249835"/>
                  <a:pt x="535477" y="265316"/>
                  <a:pt x="519881" y="265258"/>
                </a:cubicBezTo>
                <a:cubicBezTo>
                  <a:pt x="504284" y="265199"/>
                  <a:pt x="495263" y="249603"/>
                  <a:pt x="495089" y="234064"/>
                </a:cubicBezTo>
                <a:cubicBezTo>
                  <a:pt x="494914" y="218526"/>
                  <a:pt x="504109" y="202231"/>
                  <a:pt x="519881" y="202115"/>
                </a:cubicBezTo>
                <a:close/>
                <a:moveTo>
                  <a:pt x="597805" y="233831"/>
                </a:moveTo>
                <a:cubicBezTo>
                  <a:pt x="597805" y="191406"/>
                  <a:pt x="567485" y="158176"/>
                  <a:pt x="519531" y="158176"/>
                </a:cubicBezTo>
                <a:cubicBezTo>
                  <a:pt x="472974" y="158176"/>
                  <a:pt x="442130" y="191523"/>
                  <a:pt x="442363" y="233831"/>
                </a:cubicBezTo>
                <a:cubicBezTo>
                  <a:pt x="442596" y="276140"/>
                  <a:pt x="473032" y="308556"/>
                  <a:pt x="519531" y="308497"/>
                </a:cubicBezTo>
                <a:cubicBezTo>
                  <a:pt x="567485" y="308497"/>
                  <a:pt x="597573" y="276024"/>
                  <a:pt x="597805" y="233831"/>
                </a:cubicBezTo>
                <a:close/>
              </a:path>
            </a:pathLst>
          </a:custGeom>
          <a:solidFill>
            <a:schemeClr val="bg1"/>
          </a:solidFill>
          <a:ln w="5818" cap="flat">
            <a:noFill/>
            <a:prstDash val="solid"/>
            <a:miter/>
          </a:ln>
        </p:spPr>
        <p:txBody>
          <a:bodyPr rtlCol="0" anchor="ctr"/>
          <a:lstStyle/>
          <a:p>
            <a:endParaRPr lang="de-DE"/>
          </a:p>
        </p:txBody>
      </p:sp>
    </p:spTree>
    <p:extLst>
      <p:ext uri="{BB962C8B-B14F-4D97-AF65-F5344CB8AC3E}">
        <p14:creationId xmlns:p14="http://schemas.microsoft.com/office/powerpoint/2010/main" val="285092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A4F39347-DAB3-4DAB-BB5D-9D3C67C23AAF}"/>
              </a:ext>
            </a:extLst>
          </p:cNvPr>
          <p:cNvSpPr>
            <a:spLocks noGrp="1"/>
          </p:cNvSpPr>
          <p:nvPr>
            <p:ph type="media" sz="quarter" idx="10" hasCustomPrompt="1"/>
          </p:nvPr>
        </p:nvSpPr>
        <p:spPr>
          <a:xfrm>
            <a:off x="0" y="0"/>
            <a:ext cx="12192000" cy="6858000"/>
          </a:xfrm>
          <a:solidFill>
            <a:schemeClr val="bg2">
              <a:lumMod val="95000"/>
            </a:schemeClr>
          </a:solidFill>
        </p:spPr>
        <p:txBody>
          <a:bodyPr bIns="720000" anchor="ctr" anchorCtr="0"/>
          <a:lstStyle>
            <a:lvl1pPr marL="0" indent="0" algn="ctr">
              <a:buNone/>
              <a:defRPr/>
            </a:lvl1pPr>
          </a:lstStyle>
          <a:p>
            <a:r>
              <a:rPr lang="de-DE" dirty="0"/>
              <a:t>Video</a:t>
            </a:r>
          </a:p>
        </p:txBody>
      </p:sp>
    </p:spTree>
    <p:extLst>
      <p:ext uri="{BB962C8B-B14F-4D97-AF65-F5344CB8AC3E}">
        <p14:creationId xmlns:p14="http://schemas.microsoft.com/office/powerpoint/2010/main" val="52271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brigh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C3B6037-F8B1-465C-9E80-22B48F40F665}"/>
              </a:ext>
            </a:extLst>
          </p:cNvPr>
          <p:cNvSpPr/>
          <p:nvPr userDrawn="1"/>
        </p:nvSpPr>
        <p:spPr>
          <a:xfrm>
            <a:off x="9461500" y="5805488"/>
            <a:ext cx="2730500" cy="1052512"/>
          </a:xfrm>
          <a:prstGeom prst="rect">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800" dirty="0"/>
          </a:p>
        </p:txBody>
      </p:sp>
      <p:sp>
        <p:nvSpPr>
          <p:cNvPr id="15" name="Bildplatzhalter 14">
            <a:extLst>
              <a:ext uri="{FF2B5EF4-FFF2-40B4-BE49-F238E27FC236}">
                <a16:creationId xmlns:a16="http://schemas.microsoft.com/office/drawing/2014/main" id="{07D9B264-2132-4C66-A04A-30A25396E24D}"/>
              </a:ext>
            </a:extLst>
          </p:cNvPr>
          <p:cNvSpPr>
            <a:spLocks noGrp="1"/>
          </p:cNvSpPr>
          <p:nvPr>
            <p:ph type="pic" sz="quarter" idx="10" hasCustomPrompt="1"/>
          </p:nvPr>
        </p:nvSpPr>
        <p:spPr bwMode="gray">
          <a:xfrm>
            <a:off x="0" y="0"/>
            <a:ext cx="12192000" cy="6858000"/>
          </a:xfrm>
          <a:custGeom>
            <a:avLst/>
            <a:gdLst>
              <a:gd name="connsiteX0" fmla="*/ 11197940 w 12192000"/>
              <a:gd name="connsiteY0" fmla="*/ 6340148 h 6858000"/>
              <a:gd name="connsiteX1" fmla="*/ 11209113 w 12192000"/>
              <a:gd name="connsiteY1" fmla="*/ 6376055 h 6858000"/>
              <a:gd name="connsiteX2" fmla="*/ 11186708 w 12192000"/>
              <a:gd name="connsiteY2" fmla="*/ 6376055 h 6858000"/>
              <a:gd name="connsiteX3" fmla="*/ 10758499 w 12192000"/>
              <a:gd name="connsiteY3" fmla="*/ 6332059 h 6858000"/>
              <a:gd name="connsiteX4" fmla="*/ 10783465 w 12192000"/>
              <a:gd name="connsiteY4" fmla="*/ 6364008 h 6858000"/>
              <a:gd name="connsiteX5" fmla="*/ 10758499 w 12192000"/>
              <a:gd name="connsiteY5" fmla="*/ 6395202 h 6858000"/>
              <a:gd name="connsiteX6" fmla="*/ 10733707 w 12192000"/>
              <a:gd name="connsiteY6" fmla="*/ 6364008 h 6858000"/>
              <a:gd name="connsiteX7" fmla="*/ 10758499 w 12192000"/>
              <a:gd name="connsiteY7" fmla="*/ 6332059 h 6858000"/>
              <a:gd name="connsiteX8" fmla="*/ 11352974 w 12192000"/>
              <a:gd name="connsiteY8" fmla="*/ 6291321 h 6858000"/>
              <a:gd name="connsiteX9" fmla="*/ 11274351 w 12192000"/>
              <a:gd name="connsiteY9" fmla="*/ 6363834 h 6858000"/>
              <a:gd name="connsiteX10" fmla="*/ 11352916 w 12192000"/>
              <a:gd name="connsiteY10" fmla="*/ 6438558 h 6858000"/>
              <a:gd name="connsiteX11" fmla="*/ 11389755 w 12192000"/>
              <a:gd name="connsiteY11" fmla="*/ 6428897 h 6858000"/>
              <a:gd name="connsiteX12" fmla="*/ 11389755 w 12192000"/>
              <a:gd name="connsiteY12" fmla="*/ 6389789 h 6858000"/>
              <a:gd name="connsiteX13" fmla="*/ 11362693 w 12192000"/>
              <a:gd name="connsiteY13" fmla="*/ 6399159 h 6858000"/>
              <a:gd name="connsiteX14" fmla="*/ 11326146 w 12192000"/>
              <a:gd name="connsiteY14" fmla="*/ 6363834 h 6858000"/>
              <a:gd name="connsiteX15" fmla="*/ 11357339 w 12192000"/>
              <a:gd name="connsiteY15" fmla="*/ 6329614 h 6858000"/>
              <a:gd name="connsiteX16" fmla="*/ 11404246 w 12192000"/>
              <a:gd name="connsiteY16" fmla="*/ 6329614 h 6858000"/>
              <a:gd name="connsiteX17" fmla="*/ 11404246 w 12192000"/>
              <a:gd name="connsiteY17" fmla="*/ 6435415 h 6858000"/>
              <a:gd name="connsiteX18" fmla="*/ 11456622 w 12192000"/>
              <a:gd name="connsiteY18" fmla="*/ 6435415 h 6858000"/>
              <a:gd name="connsiteX19" fmla="*/ 11456622 w 12192000"/>
              <a:gd name="connsiteY19" fmla="*/ 6329614 h 6858000"/>
              <a:gd name="connsiteX20" fmla="*/ 11492472 w 12192000"/>
              <a:gd name="connsiteY20" fmla="*/ 6329614 h 6858000"/>
              <a:gd name="connsiteX21" fmla="*/ 11492472 w 12192000"/>
              <a:gd name="connsiteY21" fmla="*/ 6291321 h 6858000"/>
              <a:gd name="connsiteX22" fmla="*/ 11170122 w 12192000"/>
              <a:gd name="connsiteY22" fmla="*/ 6291321 h 6858000"/>
              <a:gd name="connsiteX23" fmla="*/ 11110587 w 12192000"/>
              <a:gd name="connsiteY23" fmla="*/ 6435415 h 6858000"/>
              <a:gd name="connsiteX24" fmla="*/ 11164534 w 12192000"/>
              <a:gd name="connsiteY24" fmla="*/ 6435415 h 6858000"/>
              <a:gd name="connsiteX25" fmla="*/ 11174777 w 12192000"/>
              <a:gd name="connsiteY25" fmla="*/ 6409401 h 6858000"/>
              <a:gd name="connsiteX26" fmla="*/ 11221334 w 12192000"/>
              <a:gd name="connsiteY26" fmla="*/ 6409401 h 6858000"/>
              <a:gd name="connsiteX27" fmla="*/ 11231577 w 12192000"/>
              <a:gd name="connsiteY27" fmla="*/ 6435415 h 6858000"/>
              <a:gd name="connsiteX28" fmla="*/ 11284885 w 12192000"/>
              <a:gd name="connsiteY28" fmla="*/ 6435415 h 6858000"/>
              <a:gd name="connsiteX29" fmla="*/ 11225990 w 12192000"/>
              <a:gd name="connsiteY29" fmla="*/ 6291321 h 6858000"/>
              <a:gd name="connsiteX30" fmla="*/ 11225932 w 12192000"/>
              <a:gd name="connsiteY30" fmla="*/ 6291321 h 6858000"/>
              <a:gd name="connsiteX31" fmla="*/ 11013922 w 12192000"/>
              <a:gd name="connsiteY31" fmla="*/ 6291321 h 6858000"/>
              <a:gd name="connsiteX32" fmla="*/ 11013922 w 12192000"/>
              <a:gd name="connsiteY32" fmla="*/ 6329672 h 6858000"/>
              <a:gd name="connsiteX33" fmla="*/ 11050644 w 12192000"/>
              <a:gd name="connsiteY33" fmla="*/ 6329672 h 6858000"/>
              <a:gd name="connsiteX34" fmla="*/ 11050644 w 12192000"/>
              <a:gd name="connsiteY34" fmla="*/ 6435474 h 6858000"/>
              <a:gd name="connsiteX35" fmla="*/ 11102498 w 12192000"/>
              <a:gd name="connsiteY35" fmla="*/ 6435474 h 6858000"/>
              <a:gd name="connsiteX36" fmla="*/ 11102498 w 12192000"/>
              <a:gd name="connsiteY36" fmla="*/ 6329614 h 6858000"/>
              <a:gd name="connsiteX37" fmla="*/ 11137997 w 12192000"/>
              <a:gd name="connsiteY37" fmla="*/ 6329614 h 6858000"/>
              <a:gd name="connsiteX38" fmla="*/ 11137997 w 12192000"/>
              <a:gd name="connsiteY38" fmla="*/ 6291321 h 6858000"/>
              <a:gd name="connsiteX39" fmla="*/ 11137764 w 12192000"/>
              <a:gd name="connsiteY39" fmla="*/ 6291321 h 6858000"/>
              <a:gd name="connsiteX40" fmla="*/ 10850332 w 12192000"/>
              <a:gd name="connsiteY40" fmla="*/ 6291321 h 6858000"/>
              <a:gd name="connsiteX41" fmla="*/ 10850332 w 12192000"/>
              <a:gd name="connsiteY41" fmla="*/ 6435415 h 6858000"/>
              <a:gd name="connsiteX42" fmla="*/ 10902709 w 12192000"/>
              <a:gd name="connsiteY42" fmla="*/ 6435415 h 6858000"/>
              <a:gd name="connsiteX43" fmla="*/ 10902709 w 12192000"/>
              <a:gd name="connsiteY43" fmla="*/ 6374426 h 6858000"/>
              <a:gd name="connsiteX44" fmla="*/ 10963350 w 12192000"/>
              <a:gd name="connsiteY44" fmla="*/ 6435415 h 6858000"/>
              <a:gd name="connsiteX45" fmla="*/ 11007114 w 12192000"/>
              <a:gd name="connsiteY45" fmla="*/ 6435415 h 6858000"/>
              <a:gd name="connsiteX46" fmla="*/ 11007114 w 12192000"/>
              <a:gd name="connsiteY46" fmla="*/ 6291321 h 6858000"/>
              <a:gd name="connsiteX47" fmla="*/ 10953980 w 12192000"/>
              <a:gd name="connsiteY47" fmla="*/ 6291321 h 6858000"/>
              <a:gd name="connsiteX48" fmla="*/ 10953980 w 12192000"/>
              <a:gd name="connsiteY48" fmla="*/ 6353417 h 6858000"/>
              <a:gd name="connsiteX49" fmla="*/ 10891710 w 12192000"/>
              <a:gd name="connsiteY49" fmla="*/ 6291321 h 6858000"/>
              <a:gd name="connsiteX50" fmla="*/ 10628080 w 12192000"/>
              <a:gd name="connsiteY50" fmla="*/ 6288237 h 6858000"/>
              <a:gd name="connsiteX51" fmla="*/ 10551087 w 12192000"/>
              <a:gd name="connsiteY51" fmla="*/ 6363892 h 6858000"/>
              <a:gd name="connsiteX52" fmla="*/ 10632562 w 12192000"/>
              <a:gd name="connsiteY52" fmla="*/ 6438616 h 6858000"/>
              <a:gd name="connsiteX53" fmla="*/ 10671611 w 12192000"/>
              <a:gd name="connsiteY53" fmla="*/ 6430411 h 6858000"/>
              <a:gd name="connsiteX54" fmla="*/ 10671611 w 12192000"/>
              <a:gd name="connsiteY54" fmla="*/ 6388509 h 6858000"/>
              <a:gd name="connsiteX55" fmla="*/ 10640243 w 12192000"/>
              <a:gd name="connsiteY55" fmla="*/ 6398170 h 6858000"/>
              <a:gd name="connsiteX56" fmla="*/ 10605325 w 12192000"/>
              <a:gd name="connsiteY56" fmla="*/ 6363892 h 6858000"/>
              <a:gd name="connsiteX57" fmla="*/ 10640418 w 12192000"/>
              <a:gd name="connsiteY57" fmla="*/ 6328450 h 6858000"/>
              <a:gd name="connsiteX58" fmla="*/ 10640593 w 12192000"/>
              <a:gd name="connsiteY58" fmla="*/ 6328450 h 6858000"/>
              <a:gd name="connsiteX59" fmla="*/ 10670563 w 12192000"/>
              <a:gd name="connsiteY59" fmla="*/ 6338460 h 6858000"/>
              <a:gd name="connsiteX60" fmla="*/ 10670563 w 12192000"/>
              <a:gd name="connsiteY60" fmla="*/ 6295686 h 6858000"/>
              <a:gd name="connsiteX61" fmla="*/ 10670622 w 12192000"/>
              <a:gd name="connsiteY61" fmla="*/ 6295628 h 6858000"/>
              <a:gd name="connsiteX62" fmla="*/ 10628080 w 12192000"/>
              <a:gd name="connsiteY62" fmla="*/ 6288237 h 6858000"/>
              <a:gd name="connsiteX63" fmla="*/ 10758149 w 12192000"/>
              <a:gd name="connsiteY63" fmla="*/ 6288120 h 6858000"/>
              <a:gd name="connsiteX64" fmla="*/ 10680981 w 12192000"/>
              <a:gd name="connsiteY64" fmla="*/ 6363775 h 6858000"/>
              <a:gd name="connsiteX65" fmla="*/ 10758149 w 12192000"/>
              <a:gd name="connsiteY65" fmla="*/ 6438441 h 6858000"/>
              <a:gd name="connsiteX66" fmla="*/ 10836423 w 12192000"/>
              <a:gd name="connsiteY66" fmla="*/ 6363775 h 6858000"/>
              <a:gd name="connsiteX67" fmla="*/ 10758149 w 12192000"/>
              <a:gd name="connsiteY67" fmla="*/ 6288120 h 6858000"/>
              <a:gd name="connsiteX68" fmla="*/ 10385984 w 12192000"/>
              <a:gd name="connsiteY68" fmla="*/ 6239992 h 6858000"/>
              <a:gd name="connsiteX69" fmla="*/ 10406876 w 12192000"/>
              <a:gd name="connsiteY69" fmla="*/ 6260768 h 6858000"/>
              <a:gd name="connsiteX70" fmla="*/ 10406876 w 12192000"/>
              <a:gd name="connsiteY70" fmla="*/ 6260884 h 6858000"/>
              <a:gd name="connsiteX71" fmla="*/ 10386100 w 12192000"/>
              <a:gd name="connsiteY71" fmla="*/ 6281660 h 6858000"/>
              <a:gd name="connsiteX72" fmla="*/ 10365207 w 12192000"/>
              <a:gd name="connsiteY72" fmla="*/ 6260884 h 6858000"/>
              <a:gd name="connsiteX73" fmla="*/ 10385984 w 12192000"/>
              <a:gd name="connsiteY73" fmla="*/ 6239992 h 6858000"/>
              <a:gd name="connsiteX74" fmla="*/ 11408029 w 12192000"/>
              <a:gd name="connsiteY74" fmla="*/ 6234696 h 6858000"/>
              <a:gd name="connsiteX75" fmla="*/ 11408261 w 12192000"/>
              <a:gd name="connsiteY75" fmla="*/ 6234696 h 6858000"/>
              <a:gd name="connsiteX76" fmla="*/ 11408145 w 12192000"/>
              <a:gd name="connsiteY76" fmla="*/ 6234880 h 6858000"/>
              <a:gd name="connsiteX77" fmla="*/ 10938151 w 12192000"/>
              <a:gd name="connsiteY77" fmla="*/ 6171204 h 6858000"/>
              <a:gd name="connsiteX78" fmla="*/ 10962826 w 12192000"/>
              <a:gd name="connsiteY78" fmla="*/ 6202222 h 6858000"/>
              <a:gd name="connsiteX79" fmla="*/ 10938209 w 12192000"/>
              <a:gd name="connsiteY79" fmla="*/ 6232368 h 6858000"/>
              <a:gd name="connsiteX80" fmla="*/ 10913825 w 12192000"/>
              <a:gd name="connsiteY80" fmla="*/ 6202222 h 6858000"/>
              <a:gd name="connsiteX81" fmla="*/ 10938151 w 12192000"/>
              <a:gd name="connsiteY81" fmla="*/ 6171204 h 6858000"/>
              <a:gd name="connsiteX82" fmla="*/ 10288272 w 12192000"/>
              <a:gd name="connsiteY82" fmla="*/ 6164336 h 6858000"/>
              <a:gd name="connsiteX83" fmla="*/ 10358573 w 12192000"/>
              <a:gd name="connsiteY83" fmla="*/ 6164336 h 6858000"/>
              <a:gd name="connsiteX84" fmla="*/ 10374286 w 12192000"/>
              <a:gd name="connsiteY84" fmla="*/ 6181039 h 6858000"/>
              <a:gd name="connsiteX85" fmla="*/ 10374286 w 12192000"/>
              <a:gd name="connsiteY85" fmla="*/ 6208973 h 6858000"/>
              <a:gd name="connsiteX86" fmla="*/ 10357351 w 12192000"/>
              <a:gd name="connsiteY86" fmla="*/ 6228585 h 6858000"/>
              <a:gd name="connsiteX87" fmla="*/ 10342162 w 12192000"/>
              <a:gd name="connsiteY87" fmla="*/ 6260768 h 6858000"/>
              <a:gd name="connsiteX88" fmla="*/ 10363229 w 12192000"/>
              <a:gd name="connsiteY88" fmla="*/ 6297839 h 6858000"/>
              <a:gd name="connsiteX89" fmla="*/ 10374170 w 12192000"/>
              <a:gd name="connsiteY89" fmla="*/ 6317917 h 6858000"/>
              <a:gd name="connsiteX90" fmla="*/ 10374461 w 12192000"/>
              <a:gd name="connsiteY90" fmla="*/ 6317917 h 6858000"/>
              <a:gd name="connsiteX91" fmla="*/ 10374461 w 12192000"/>
              <a:gd name="connsiteY91" fmla="*/ 6385657 h 6858000"/>
              <a:gd name="connsiteX92" fmla="*/ 10358457 w 12192000"/>
              <a:gd name="connsiteY92" fmla="*/ 6401545 h 6858000"/>
              <a:gd name="connsiteX93" fmla="*/ 10289494 w 12192000"/>
              <a:gd name="connsiteY93" fmla="*/ 6401545 h 6858000"/>
              <a:gd name="connsiteX94" fmla="*/ 10272442 w 12192000"/>
              <a:gd name="connsiteY94" fmla="*/ 6385366 h 6858000"/>
              <a:gd name="connsiteX95" fmla="*/ 10272442 w 12192000"/>
              <a:gd name="connsiteY95" fmla="*/ 6180166 h 6858000"/>
              <a:gd name="connsiteX96" fmla="*/ 10288272 w 12192000"/>
              <a:gd name="connsiteY96" fmla="*/ 6164336 h 6858000"/>
              <a:gd name="connsiteX97" fmla="*/ 10412754 w 12192000"/>
              <a:gd name="connsiteY97" fmla="*/ 6164162 h 6858000"/>
              <a:gd name="connsiteX98" fmla="*/ 10506973 w 12192000"/>
              <a:gd name="connsiteY98" fmla="*/ 6259778 h 6858000"/>
              <a:gd name="connsiteX99" fmla="*/ 10412521 w 12192000"/>
              <a:gd name="connsiteY99" fmla="*/ 6356967 h 6858000"/>
              <a:gd name="connsiteX100" fmla="*/ 10397157 w 12192000"/>
              <a:gd name="connsiteY100" fmla="*/ 6344105 h 6858000"/>
              <a:gd name="connsiteX101" fmla="*/ 10396983 w 12192000"/>
              <a:gd name="connsiteY101" fmla="*/ 6344105 h 6858000"/>
              <a:gd name="connsiteX102" fmla="*/ 10396983 w 12192000"/>
              <a:gd name="connsiteY102" fmla="*/ 6317800 h 6858000"/>
              <a:gd name="connsiteX103" fmla="*/ 10407924 w 12192000"/>
              <a:gd name="connsiteY103" fmla="*/ 6297839 h 6858000"/>
              <a:gd name="connsiteX104" fmla="*/ 10429048 w 12192000"/>
              <a:gd name="connsiteY104" fmla="*/ 6260826 h 6858000"/>
              <a:gd name="connsiteX105" fmla="*/ 10414034 w 12192000"/>
              <a:gd name="connsiteY105" fmla="*/ 6228585 h 6858000"/>
              <a:gd name="connsiteX106" fmla="*/ 10397099 w 12192000"/>
              <a:gd name="connsiteY106" fmla="*/ 6208915 h 6858000"/>
              <a:gd name="connsiteX107" fmla="*/ 10397099 w 12192000"/>
              <a:gd name="connsiteY107" fmla="*/ 6180981 h 6858000"/>
              <a:gd name="connsiteX108" fmla="*/ 10412754 w 12192000"/>
              <a:gd name="connsiteY108" fmla="*/ 6164162 h 6858000"/>
              <a:gd name="connsiteX109" fmla="*/ 10611785 w 12192000"/>
              <a:gd name="connsiteY109" fmla="*/ 6163987 h 6858000"/>
              <a:gd name="connsiteX110" fmla="*/ 10619991 w 12192000"/>
              <a:gd name="connsiteY110" fmla="*/ 6163987 h 6858000"/>
              <a:gd name="connsiteX111" fmla="*/ 10638498 w 12192000"/>
              <a:gd name="connsiteY111" fmla="*/ 6178548 h 6858000"/>
              <a:gd name="connsiteX112" fmla="*/ 10623949 w 12192000"/>
              <a:gd name="connsiteY112" fmla="*/ 6197043 h 6858000"/>
              <a:gd name="connsiteX113" fmla="*/ 10619991 w 12192000"/>
              <a:gd name="connsiteY113" fmla="*/ 6197043 h 6858000"/>
              <a:gd name="connsiteX114" fmla="*/ 10611785 w 12192000"/>
              <a:gd name="connsiteY114" fmla="*/ 6197043 h 6858000"/>
              <a:gd name="connsiteX115" fmla="*/ 11408087 w 12192000"/>
              <a:gd name="connsiteY115" fmla="*/ 6163575 h 6858000"/>
              <a:gd name="connsiteX116" fmla="*/ 11408261 w 12192000"/>
              <a:gd name="connsiteY116" fmla="*/ 6163813 h 6858000"/>
              <a:gd name="connsiteX117" fmla="*/ 11407912 w 12192000"/>
              <a:gd name="connsiteY117" fmla="*/ 6163813 h 6858000"/>
              <a:gd name="connsiteX118" fmla="*/ 11323586 w 12192000"/>
              <a:gd name="connsiteY118" fmla="*/ 6129535 h 6858000"/>
              <a:gd name="connsiteX119" fmla="*/ 11377417 w 12192000"/>
              <a:gd name="connsiteY119" fmla="*/ 6199778 h 6858000"/>
              <a:gd name="connsiteX120" fmla="*/ 11323236 w 12192000"/>
              <a:gd name="connsiteY120" fmla="*/ 6273513 h 6858000"/>
              <a:gd name="connsiteX121" fmla="*/ 11383760 w 12192000"/>
              <a:gd name="connsiteY121" fmla="*/ 6273513 h 6858000"/>
              <a:gd name="connsiteX122" fmla="*/ 11408145 w 12192000"/>
              <a:gd name="connsiteY122" fmla="*/ 6234880 h 6858000"/>
              <a:gd name="connsiteX123" fmla="*/ 11432529 w 12192000"/>
              <a:gd name="connsiteY123" fmla="*/ 6273513 h 6858000"/>
              <a:gd name="connsiteX124" fmla="*/ 11492937 w 12192000"/>
              <a:gd name="connsiteY124" fmla="*/ 6273513 h 6858000"/>
              <a:gd name="connsiteX125" fmla="*/ 11438756 w 12192000"/>
              <a:gd name="connsiteY125" fmla="*/ 6199778 h 6858000"/>
              <a:gd name="connsiteX126" fmla="*/ 11492646 w 12192000"/>
              <a:gd name="connsiteY126" fmla="*/ 6129535 h 6858000"/>
              <a:gd name="connsiteX127" fmla="*/ 11433111 w 12192000"/>
              <a:gd name="connsiteY127" fmla="*/ 6129535 h 6858000"/>
              <a:gd name="connsiteX128" fmla="*/ 11408087 w 12192000"/>
              <a:gd name="connsiteY128" fmla="*/ 6163575 h 6858000"/>
              <a:gd name="connsiteX129" fmla="*/ 11383237 w 12192000"/>
              <a:gd name="connsiteY129" fmla="*/ 6129535 h 6858000"/>
              <a:gd name="connsiteX130" fmla="*/ 11260733 w 12192000"/>
              <a:gd name="connsiteY130" fmla="*/ 6129535 h 6858000"/>
              <a:gd name="connsiteX131" fmla="*/ 11260733 w 12192000"/>
              <a:gd name="connsiteY131" fmla="*/ 6273513 h 6858000"/>
              <a:gd name="connsiteX132" fmla="*/ 11316893 w 12192000"/>
              <a:gd name="connsiteY132" fmla="*/ 6273513 h 6858000"/>
              <a:gd name="connsiteX133" fmla="*/ 11316893 w 12192000"/>
              <a:gd name="connsiteY133" fmla="*/ 6129535 h 6858000"/>
              <a:gd name="connsiteX134" fmla="*/ 11084806 w 12192000"/>
              <a:gd name="connsiteY134" fmla="*/ 6129477 h 6858000"/>
              <a:gd name="connsiteX135" fmla="*/ 11084806 w 12192000"/>
              <a:gd name="connsiteY135" fmla="*/ 6273513 h 6858000"/>
              <a:gd name="connsiteX136" fmla="*/ 11137182 w 12192000"/>
              <a:gd name="connsiteY136" fmla="*/ 6273513 h 6858000"/>
              <a:gd name="connsiteX137" fmla="*/ 11137182 w 12192000"/>
              <a:gd name="connsiteY137" fmla="*/ 6212581 h 6858000"/>
              <a:gd name="connsiteX138" fmla="*/ 11199103 w 12192000"/>
              <a:gd name="connsiteY138" fmla="*/ 6273513 h 6858000"/>
              <a:gd name="connsiteX139" fmla="*/ 11243099 w 12192000"/>
              <a:gd name="connsiteY139" fmla="*/ 6273513 h 6858000"/>
              <a:gd name="connsiteX140" fmla="*/ 11243099 w 12192000"/>
              <a:gd name="connsiteY140" fmla="*/ 6129535 h 6858000"/>
              <a:gd name="connsiteX141" fmla="*/ 11190723 w 12192000"/>
              <a:gd name="connsiteY141" fmla="*/ 6129535 h 6858000"/>
              <a:gd name="connsiteX142" fmla="*/ 11190723 w 12192000"/>
              <a:gd name="connsiteY142" fmla="*/ 6190583 h 6858000"/>
              <a:gd name="connsiteX143" fmla="*/ 11126300 w 12192000"/>
              <a:gd name="connsiteY143" fmla="*/ 6129477 h 6858000"/>
              <a:gd name="connsiteX144" fmla="*/ 10938325 w 12192000"/>
              <a:gd name="connsiteY144" fmla="*/ 6129477 h 6858000"/>
              <a:gd name="connsiteX145" fmla="*/ 10882923 w 12192000"/>
              <a:gd name="connsiteY145" fmla="*/ 6148274 h 6858000"/>
              <a:gd name="connsiteX146" fmla="*/ 10862728 w 12192000"/>
              <a:gd name="connsiteY146" fmla="*/ 6201989 h 6858000"/>
              <a:gd name="connsiteX147" fmla="*/ 10882923 w 12192000"/>
              <a:gd name="connsiteY147" fmla="*/ 6252853 h 6858000"/>
              <a:gd name="connsiteX148" fmla="*/ 10938383 w 12192000"/>
              <a:gd name="connsiteY148" fmla="*/ 6273513 h 6858000"/>
              <a:gd name="connsiteX149" fmla="*/ 11069383 w 12192000"/>
              <a:gd name="connsiteY149" fmla="*/ 6273513 h 6858000"/>
              <a:gd name="connsiteX150" fmla="*/ 11069383 w 12192000"/>
              <a:gd name="connsiteY150" fmla="*/ 6238595 h 6858000"/>
              <a:gd name="connsiteX151" fmla="*/ 11010430 w 12192000"/>
              <a:gd name="connsiteY151" fmla="*/ 6238595 h 6858000"/>
              <a:gd name="connsiteX152" fmla="*/ 11010430 w 12192000"/>
              <a:gd name="connsiteY152" fmla="*/ 6218459 h 6858000"/>
              <a:gd name="connsiteX153" fmla="*/ 11068627 w 12192000"/>
              <a:gd name="connsiteY153" fmla="*/ 6218459 h 6858000"/>
              <a:gd name="connsiteX154" fmla="*/ 11068627 w 12192000"/>
              <a:gd name="connsiteY154" fmla="*/ 6184181 h 6858000"/>
              <a:gd name="connsiteX155" fmla="*/ 11010430 w 12192000"/>
              <a:gd name="connsiteY155" fmla="*/ 6184181 h 6858000"/>
              <a:gd name="connsiteX156" fmla="*/ 11010430 w 12192000"/>
              <a:gd name="connsiteY156" fmla="*/ 6164278 h 6858000"/>
              <a:gd name="connsiteX157" fmla="*/ 11069383 w 12192000"/>
              <a:gd name="connsiteY157" fmla="*/ 6164278 h 6858000"/>
              <a:gd name="connsiteX158" fmla="*/ 11069383 w 12192000"/>
              <a:gd name="connsiteY158" fmla="*/ 6129651 h 6858000"/>
              <a:gd name="connsiteX159" fmla="*/ 11069383 w 12192000"/>
              <a:gd name="connsiteY159" fmla="*/ 6129477 h 6858000"/>
              <a:gd name="connsiteX160" fmla="*/ 10751340 w 12192000"/>
              <a:gd name="connsiteY160" fmla="*/ 6129477 h 6858000"/>
              <a:gd name="connsiteX161" fmla="*/ 10751340 w 12192000"/>
              <a:gd name="connsiteY161" fmla="*/ 6129535 h 6858000"/>
              <a:gd name="connsiteX162" fmla="*/ 10699021 w 12192000"/>
              <a:gd name="connsiteY162" fmla="*/ 6129535 h 6858000"/>
              <a:gd name="connsiteX163" fmla="*/ 10699021 w 12192000"/>
              <a:gd name="connsiteY163" fmla="*/ 6273571 h 6858000"/>
              <a:gd name="connsiteX164" fmla="*/ 10751398 w 12192000"/>
              <a:gd name="connsiteY164" fmla="*/ 6273571 h 6858000"/>
              <a:gd name="connsiteX165" fmla="*/ 10751398 w 12192000"/>
              <a:gd name="connsiteY165" fmla="*/ 6221194 h 6858000"/>
              <a:gd name="connsiteX166" fmla="*/ 10796268 w 12192000"/>
              <a:gd name="connsiteY166" fmla="*/ 6221194 h 6858000"/>
              <a:gd name="connsiteX167" fmla="*/ 10796268 w 12192000"/>
              <a:gd name="connsiteY167" fmla="*/ 6273571 h 6858000"/>
              <a:gd name="connsiteX168" fmla="*/ 10848645 w 12192000"/>
              <a:gd name="connsiteY168" fmla="*/ 6273571 h 6858000"/>
              <a:gd name="connsiteX169" fmla="*/ 10848645 w 12192000"/>
              <a:gd name="connsiteY169" fmla="*/ 6129477 h 6858000"/>
              <a:gd name="connsiteX170" fmla="*/ 10796268 w 12192000"/>
              <a:gd name="connsiteY170" fmla="*/ 6129477 h 6858000"/>
              <a:gd name="connsiteX171" fmla="*/ 10796268 w 12192000"/>
              <a:gd name="connsiteY171" fmla="*/ 6178653 h 6858000"/>
              <a:gd name="connsiteX172" fmla="*/ 10751340 w 12192000"/>
              <a:gd name="connsiteY172" fmla="*/ 6178653 h 6858000"/>
              <a:gd name="connsiteX173" fmla="*/ 10751340 w 12192000"/>
              <a:gd name="connsiteY173" fmla="*/ 6129535 h 6858000"/>
              <a:gd name="connsiteX174" fmla="*/ 10751398 w 12192000"/>
              <a:gd name="connsiteY174" fmla="*/ 6129535 h 6858000"/>
              <a:gd name="connsiteX175" fmla="*/ 10559176 w 12192000"/>
              <a:gd name="connsiteY175" fmla="*/ 6129477 h 6858000"/>
              <a:gd name="connsiteX176" fmla="*/ 10559176 w 12192000"/>
              <a:gd name="connsiteY176" fmla="*/ 6273513 h 6858000"/>
              <a:gd name="connsiteX177" fmla="*/ 10611553 w 12192000"/>
              <a:gd name="connsiteY177" fmla="*/ 6273513 h 6858000"/>
              <a:gd name="connsiteX178" fmla="*/ 10611553 w 12192000"/>
              <a:gd name="connsiteY178" fmla="*/ 6231961 h 6858000"/>
              <a:gd name="connsiteX179" fmla="*/ 10630990 w 12192000"/>
              <a:gd name="connsiteY179" fmla="*/ 6231961 h 6858000"/>
              <a:gd name="connsiteX180" fmla="*/ 10690758 w 12192000"/>
              <a:gd name="connsiteY180" fmla="*/ 6180340 h 6858000"/>
              <a:gd name="connsiteX181" fmla="*/ 10630990 w 12192000"/>
              <a:gd name="connsiteY181" fmla="*/ 6129477 h 6858000"/>
              <a:gd name="connsiteX182" fmla="*/ 10259173 w 12192000"/>
              <a:gd name="connsiteY182" fmla="*/ 6129477 h 6858000"/>
              <a:gd name="connsiteX183" fmla="*/ 10237699 w 12192000"/>
              <a:gd name="connsiteY183" fmla="*/ 6150893 h 6858000"/>
              <a:gd name="connsiteX184" fmla="*/ 10237699 w 12192000"/>
              <a:gd name="connsiteY184" fmla="*/ 6414057 h 6858000"/>
              <a:gd name="connsiteX185" fmla="*/ 10259115 w 12192000"/>
              <a:gd name="connsiteY185" fmla="*/ 6435474 h 6858000"/>
              <a:gd name="connsiteX186" fmla="*/ 10259173 w 12192000"/>
              <a:gd name="connsiteY186" fmla="*/ 6435474 h 6858000"/>
              <a:gd name="connsiteX187" fmla="*/ 10519486 w 12192000"/>
              <a:gd name="connsiteY187" fmla="*/ 6435474 h 6858000"/>
              <a:gd name="connsiteX188" fmla="*/ 10540902 w 12192000"/>
              <a:gd name="connsiteY188" fmla="*/ 6414057 h 6858000"/>
              <a:gd name="connsiteX189" fmla="*/ 10540902 w 12192000"/>
              <a:gd name="connsiteY189" fmla="*/ 6150893 h 6858000"/>
              <a:gd name="connsiteX190" fmla="*/ 10519486 w 12192000"/>
              <a:gd name="connsiteY190" fmla="*/ 6129477 h 6858000"/>
              <a:gd name="connsiteX191" fmla="*/ 0 w 12192000"/>
              <a:gd name="connsiteY191" fmla="*/ 0 h 6858000"/>
              <a:gd name="connsiteX192" fmla="*/ 12192000 w 12192000"/>
              <a:gd name="connsiteY192" fmla="*/ 0 h 6858000"/>
              <a:gd name="connsiteX193" fmla="*/ 12192000 w 12192000"/>
              <a:gd name="connsiteY193" fmla="*/ 6858000 h 6858000"/>
              <a:gd name="connsiteX194" fmla="*/ 0 w 12192000"/>
              <a:gd name="connsiteY19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2192000" h="6858000">
                <a:moveTo>
                  <a:pt x="11197940" y="6340148"/>
                </a:moveTo>
                <a:lnTo>
                  <a:pt x="11209113" y="6376055"/>
                </a:lnTo>
                <a:lnTo>
                  <a:pt x="11186708" y="6376055"/>
                </a:lnTo>
                <a:close/>
                <a:moveTo>
                  <a:pt x="10758499" y="6332059"/>
                </a:moveTo>
                <a:cubicBezTo>
                  <a:pt x="10774328" y="6332059"/>
                  <a:pt x="10783698" y="6348237"/>
                  <a:pt x="10783465" y="6364008"/>
                </a:cubicBezTo>
                <a:cubicBezTo>
                  <a:pt x="10783232" y="6379779"/>
                  <a:pt x="10774095" y="6395260"/>
                  <a:pt x="10758499" y="6395202"/>
                </a:cubicBezTo>
                <a:cubicBezTo>
                  <a:pt x="10742902" y="6395143"/>
                  <a:pt x="10733881" y="6379547"/>
                  <a:pt x="10733707" y="6364008"/>
                </a:cubicBezTo>
                <a:cubicBezTo>
                  <a:pt x="10733532" y="6348470"/>
                  <a:pt x="10742727" y="6332175"/>
                  <a:pt x="10758499" y="6332059"/>
                </a:cubicBezTo>
                <a:close/>
                <a:moveTo>
                  <a:pt x="11352974" y="6291321"/>
                </a:moveTo>
                <a:cubicBezTo>
                  <a:pt x="11298329" y="6291321"/>
                  <a:pt x="11274351" y="6322514"/>
                  <a:pt x="11274351" y="6363834"/>
                </a:cubicBezTo>
                <a:cubicBezTo>
                  <a:pt x="11274235" y="6406259"/>
                  <a:pt x="11310608" y="6438907"/>
                  <a:pt x="11352916" y="6438558"/>
                </a:cubicBezTo>
                <a:cubicBezTo>
                  <a:pt x="11365836" y="6438890"/>
                  <a:pt x="11378639" y="6435543"/>
                  <a:pt x="11389755" y="6428897"/>
                </a:cubicBezTo>
                <a:lnTo>
                  <a:pt x="11389755" y="6389789"/>
                </a:lnTo>
                <a:cubicBezTo>
                  <a:pt x="11382539" y="6396697"/>
                  <a:pt x="11372645" y="6400119"/>
                  <a:pt x="11362693" y="6399159"/>
                </a:cubicBezTo>
                <a:cubicBezTo>
                  <a:pt x="11342848" y="6398170"/>
                  <a:pt x="11326146" y="6383737"/>
                  <a:pt x="11326146" y="6363834"/>
                </a:cubicBezTo>
                <a:cubicBezTo>
                  <a:pt x="11326146" y="6346084"/>
                  <a:pt x="11335865" y="6329614"/>
                  <a:pt x="11357339" y="6329614"/>
                </a:cubicBezTo>
                <a:lnTo>
                  <a:pt x="11404246" y="6329614"/>
                </a:lnTo>
                <a:lnTo>
                  <a:pt x="11404246" y="6435415"/>
                </a:lnTo>
                <a:lnTo>
                  <a:pt x="11456622" y="6435415"/>
                </a:lnTo>
                <a:lnTo>
                  <a:pt x="11456622" y="6329614"/>
                </a:lnTo>
                <a:lnTo>
                  <a:pt x="11492472" y="6329614"/>
                </a:lnTo>
                <a:lnTo>
                  <a:pt x="11492472" y="6291321"/>
                </a:lnTo>
                <a:close/>
                <a:moveTo>
                  <a:pt x="11170122" y="6291321"/>
                </a:moveTo>
                <a:lnTo>
                  <a:pt x="11110587" y="6435415"/>
                </a:lnTo>
                <a:lnTo>
                  <a:pt x="11164534" y="6435415"/>
                </a:lnTo>
                <a:lnTo>
                  <a:pt x="11174777" y="6409401"/>
                </a:lnTo>
                <a:lnTo>
                  <a:pt x="11221334" y="6409401"/>
                </a:lnTo>
                <a:lnTo>
                  <a:pt x="11231577" y="6435415"/>
                </a:lnTo>
                <a:lnTo>
                  <a:pt x="11284885" y="6435415"/>
                </a:lnTo>
                <a:lnTo>
                  <a:pt x="11225990" y="6291321"/>
                </a:lnTo>
                <a:lnTo>
                  <a:pt x="11225932" y="6291321"/>
                </a:lnTo>
                <a:close/>
                <a:moveTo>
                  <a:pt x="11013922" y="6291321"/>
                </a:moveTo>
                <a:lnTo>
                  <a:pt x="11013922" y="6329672"/>
                </a:lnTo>
                <a:lnTo>
                  <a:pt x="11050644" y="6329672"/>
                </a:lnTo>
                <a:lnTo>
                  <a:pt x="11050644" y="6435474"/>
                </a:lnTo>
                <a:lnTo>
                  <a:pt x="11102498" y="6435474"/>
                </a:lnTo>
                <a:lnTo>
                  <a:pt x="11102498" y="6329614"/>
                </a:lnTo>
                <a:lnTo>
                  <a:pt x="11137997" y="6329614"/>
                </a:lnTo>
                <a:lnTo>
                  <a:pt x="11137997" y="6291321"/>
                </a:lnTo>
                <a:lnTo>
                  <a:pt x="11137764" y="6291321"/>
                </a:lnTo>
                <a:close/>
                <a:moveTo>
                  <a:pt x="10850332" y="6291321"/>
                </a:moveTo>
                <a:lnTo>
                  <a:pt x="10850332" y="6435415"/>
                </a:lnTo>
                <a:lnTo>
                  <a:pt x="10902709" y="6435415"/>
                </a:lnTo>
                <a:lnTo>
                  <a:pt x="10902709" y="6374426"/>
                </a:lnTo>
                <a:lnTo>
                  <a:pt x="10963350" y="6435415"/>
                </a:lnTo>
                <a:lnTo>
                  <a:pt x="11007114" y="6435415"/>
                </a:lnTo>
                <a:lnTo>
                  <a:pt x="11007114" y="6291321"/>
                </a:lnTo>
                <a:lnTo>
                  <a:pt x="10953980" y="6291321"/>
                </a:lnTo>
                <a:lnTo>
                  <a:pt x="10953980" y="6353417"/>
                </a:lnTo>
                <a:lnTo>
                  <a:pt x="10891710" y="6291321"/>
                </a:lnTo>
                <a:close/>
                <a:moveTo>
                  <a:pt x="10628080" y="6288237"/>
                </a:moveTo>
                <a:cubicBezTo>
                  <a:pt x="10586063" y="6288167"/>
                  <a:pt x="10551727" y="6321868"/>
                  <a:pt x="10551087" y="6363892"/>
                </a:cubicBezTo>
                <a:cubicBezTo>
                  <a:pt x="10551087" y="6406957"/>
                  <a:pt x="10584084" y="6438616"/>
                  <a:pt x="10632562" y="6438616"/>
                </a:cubicBezTo>
                <a:cubicBezTo>
                  <a:pt x="10646063" y="6439425"/>
                  <a:pt x="10659565" y="6436591"/>
                  <a:pt x="10671611" y="6430411"/>
                </a:cubicBezTo>
                <a:lnTo>
                  <a:pt x="10671611" y="6388509"/>
                </a:lnTo>
                <a:cubicBezTo>
                  <a:pt x="10662358" y="6394777"/>
                  <a:pt x="10651417" y="6398140"/>
                  <a:pt x="10640243" y="6398170"/>
                </a:cubicBezTo>
                <a:cubicBezTo>
                  <a:pt x="10621213" y="6398176"/>
                  <a:pt x="10605675" y="6382928"/>
                  <a:pt x="10605325" y="6363892"/>
                </a:cubicBezTo>
                <a:cubicBezTo>
                  <a:pt x="10605209" y="6344414"/>
                  <a:pt x="10620922" y="6328549"/>
                  <a:pt x="10640418" y="6328450"/>
                </a:cubicBezTo>
                <a:cubicBezTo>
                  <a:pt x="10640476" y="6328450"/>
                  <a:pt x="10640535" y="6328450"/>
                  <a:pt x="10640593" y="6328450"/>
                </a:cubicBezTo>
                <a:cubicBezTo>
                  <a:pt x="10651417" y="6328270"/>
                  <a:pt x="10662009" y="6331802"/>
                  <a:pt x="10670563" y="6338460"/>
                </a:cubicBezTo>
                <a:cubicBezTo>
                  <a:pt x="10670563" y="6338460"/>
                  <a:pt x="10670563" y="6295162"/>
                  <a:pt x="10670563" y="6295686"/>
                </a:cubicBezTo>
                <a:lnTo>
                  <a:pt x="10670622" y="6295628"/>
                </a:lnTo>
                <a:cubicBezTo>
                  <a:pt x="10657237" y="6289889"/>
                  <a:pt x="10642630" y="6287358"/>
                  <a:pt x="10628080" y="6288237"/>
                </a:cubicBezTo>
                <a:close/>
                <a:moveTo>
                  <a:pt x="10758149" y="6288120"/>
                </a:moveTo>
                <a:cubicBezTo>
                  <a:pt x="10711592" y="6288120"/>
                  <a:pt x="10680748" y="6321467"/>
                  <a:pt x="10680981" y="6363775"/>
                </a:cubicBezTo>
                <a:cubicBezTo>
                  <a:pt x="10681214" y="6406084"/>
                  <a:pt x="10711650" y="6438500"/>
                  <a:pt x="10758149" y="6438441"/>
                </a:cubicBezTo>
                <a:cubicBezTo>
                  <a:pt x="10806103" y="6438441"/>
                  <a:pt x="10836191" y="6405968"/>
                  <a:pt x="10836423" y="6363775"/>
                </a:cubicBezTo>
                <a:cubicBezTo>
                  <a:pt x="10836423" y="6321350"/>
                  <a:pt x="10806103" y="6288120"/>
                  <a:pt x="10758149" y="6288120"/>
                </a:cubicBezTo>
                <a:close/>
                <a:moveTo>
                  <a:pt x="10385984" y="6239992"/>
                </a:moveTo>
                <a:cubicBezTo>
                  <a:pt x="10397506" y="6239963"/>
                  <a:pt x="10406818" y="6249263"/>
                  <a:pt x="10406876" y="6260768"/>
                </a:cubicBezTo>
                <a:cubicBezTo>
                  <a:pt x="10406876" y="6260809"/>
                  <a:pt x="10406876" y="6260844"/>
                  <a:pt x="10406876" y="6260884"/>
                </a:cubicBezTo>
                <a:cubicBezTo>
                  <a:pt x="10406818" y="6272343"/>
                  <a:pt x="10397565" y="6281631"/>
                  <a:pt x="10386100" y="6281660"/>
                </a:cubicBezTo>
                <a:cubicBezTo>
                  <a:pt x="10374577" y="6281695"/>
                  <a:pt x="10365265" y="6272390"/>
                  <a:pt x="10365207" y="6260884"/>
                </a:cubicBezTo>
                <a:cubicBezTo>
                  <a:pt x="10365149" y="6249379"/>
                  <a:pt x="10374461" y="6240027"/>
                  <a:pt x="10385984" y="6239992"/>
                </a:cubicBezTo>
                <a:close/>
                <a:moveTo>
                  <a:pt x="11408029" y="6234696"/>
                </a:moveTo>
                <a:lnTo>
                  <a:pt x="11408261" y="6234696"/>
                </a:lnTo>
                <a:lnTo>
                  <a:pt x="11408145" y="6234880"/>
                </a:lnTo>
                <a:close/>
                <a:moveTo>
                  <a:pt x="10938151" y="6171204"/>
                </a:moveTo>
                <a:cubicBezTo>
                  <a:pt x="10953631" y="6171204"/>
                  <a:pt x="10963000" y="6186742"/>
                  <a:pt x="10962826" y="6202222"/>
                </a:cubicBezTo>
                <a:cubicBezTo>
                  <a:pt x="10962651" y="6217703"/>
                  <a:pt x="10953457" y="6232426"/>
                  <a:pt x="10938209" y="6232368"/>
                </a:cubicBezTo>
                <a:cubicBezTo>
                  <a:pt x="10922962" y="6232310"/>
                  <a:pt x="10913999" y="6217295"/>
                  <a:pt x="10913825" y="6202222"/>
                </a:cubicBezTo>
                <a:cubicBezTo>
                  <a:pt x="10913650" y="6187149"/>
                  <a:pt x="10922787" y="6171320"/>
                  <a:pt x="10938151" y="6171204"/>
                </a:cubicBezTo>
                <a:close/>
                <a:moveTo>
                  <a:pt x="10288272" y="6164336"/>
                </a:moveTo>
                <a:lnTo>
                  <a:pt x="10358573" y="6164336"/>
                </a:lnTo>
                <a:cubicBezTo>
                  <a:pt x="10374286" y="6164336"/>
                  <a:pt x="10374286" y="6172251"/>
                  <a:pt x="10374286" y="6181039"/>
                </a:cubicBezTo>
                <a:lnTo>
                  <a:pt x="10374286" y="6208973"/>
                </a:lnTo>
                <a:cubicBezTo>
                  <a:pt x="10374286" y="6219681"/>
                  <a:pt x="10364917" y="6221718"/>
                  <a:pt x="10357351" y="6228585"/>
                </a:cubicBezTo>
                <a:cubicBezTo>
                  <a:pt x="10347573" y="6236384"/>
                  <a:pt x="10341987" y="6248267"/>
                  <a:pt x="10342162" y="6260768"/>
                </a:cubicBezTo>
                <a:cubicBezTo>
                  <a:pt x="10342860" y="6275777"/>
                  <a:pt x="10350716" y="6289552"/>
                  <a:pt x="10363229" y="6297839"/>
                </a:cubicBezTo>
                <a:cubicBezTo>
                  <a:pt x="10370096" y="6302210"/>
                  <a:pt x="10374228" y="6309792"/>
                  <a:pt x="10374170" y="6317917"/>
                </a:cubicBezTo>
                <a:lnTo>
                  <a:pt x="10374461" y="6317917"/>
                </a:lnTo>
                <a:lnTo>
                  <a:pt x="10374461" y="6385657"/>
                </a:lnTo>
                <a:cubicBezTo>
                  <a:pt x="10374344" y="6394439"/>
                  <a:pt x="10367244" y="6401516"/>
                  <a:pt x="10358457" y="6401545"/>
                </a:cubicBezTo>
                <a:lnTo>
                  <a:pt x="10289494" y="6401545"/>
                </a:lnTo>
                <a:cubicBezTo>
                  <a:pt x="10280474" y="6401359"/>
                  <a:pt x="10273082" y="6394352"/>
                  <a:pt x="10272442" y="6385366"/>
                </a:cubicBezTo>
                <a:lnTo>
                  <a:pt x="10272442" y="6180166"/>
                </a:lnTo>
                <a:cubicBezTo>
                  <a:pt x="10272501" y="6171448"/>
                  <a:pt x="10279542" y="6164401"/>
                  <a:pt x="10288272" y="6164336"/>
                </a:cubicBezTo>
                <a:close/>
                <a:moveTo>
                  <a:pt x="10412754" y="6164162"/>
                </a:moveTo>
                <a:cubicBezTo>
                  <a:pt x="10464316" y="6164162"/>
                  <a:pt x="10506973" y="6211708"/>
                  <a:pt x="10506973" y="6259778"/>
                </a:cubicBezTo>
                <a:cubicBezTo>
                  <a:pt x="10506973" y="6307849"/>
                  <a:pt x="10467167" y="6356967"/>
                  <a:pt x="10412521" y="6356967"/>
                </a:cubicBezTo>
                <a:cubicBezTo>
                  <a:pt x="10396168" y="6356967"/>
                  <a:pt x="10397157" y="6344105"/>
                  <a:pt x="10397157" y="6344105"/>
                </a:cubicBezTo>
                <a:lnTo>
                  <a:pt x="10396983" y="6344105"/>
                </a:lnTo>
                <a:lnTo>
                  <a:pt x="10396983" y="6317800"/>
                </a:lnTo>
                <a:cubicBezTo>
                  <a:pt x="10396808" y="6309670"/>
                  <a:pt x="10400998" y="6302070"/>
                  <a:pt x="10407924" y="6297839"/>
                </a:cubicBezTo>
                <a:cubicBezTo>
                  <a:pt x="10420785" y="6289854"/>
                  <a:pt x="10428700" y="6275940"/>
                  <a:pt x="10429048" y="6260826"/>
                </a:cubicBezTo>
                <a:cubicBezTo>
                  <a:pt x="10429048" y="6248389"/>
                  <a:pt x="10423578" y="6236587"/>
                  <a:pt x="10414034" y="6228585"/>
                </a:cubicBezTo>
                <a:cubicBezTo>
                  <a:pt x="10406876" y="6221893"/>
                  <a:pt x="10397099" y="6219274"/>
                  <a:pt x="10397099" y="6208915"/>
                </a:cubicBezTo>
                <a:lnTo>
                  <a:pt x="10397099" y="6180981"/>
                </a:lnTo>
                <a:cubicBezTo>
                  <a:pt x="10397099" y="6172077"/>
                  <a:pt x="10397099" y="6164162"/>
                  <a:pt x="10412754" y="6164162"/>
                </a:cubicBezTo>
                <a:close/>
                <a:moveTo>
                  <a:pt x="10611785" y="6163987"/>
                </a:moveTo>
                <a:lnTo>
                  <a:pt x="10619991" y="6163987"/>
                </a:lnTo>
                <a:cubicBezTo>
                  <a:pt x="10629128" y="6162905"/>
                  <a:pt x="10637392" y="6169423"/>
                  <a:pt x="10638498" y="6178548"/>
                </a:cubicBezTo>
                <a:cubicBezTo>
                  <a:pt x="10639545" y="6187679"/>
                  <a:pt x="10633027" y="6195960"/>
                  <a:pt x="10623949" y="6197043"/>
                </a:cubicBezTo>
                <a:cubicBezTo>
                  <a:pt x="10622610" y="6197200"/>
                  <a:pt x="10621271" y="6197200"/>
                  <a:pt x="10619991" y="6197043"/>
                </a:cubicBezTo>
                <a:lnTo>
                  <a:pt x="10611785" y="6197043"/>
                </a:lnTo>
                <a:close/>
                <a:moveTo>
                  <a:pt x="11408087" y="6163575"/>
                </a:moveTo>
                <a:lnTo>
                  <a:pt x="11408261" y="6163813"/>
                </a:lnTo>
                <a:lnTo>
                  <a:pt x="11407912" y="6163813"/>
                </a:lnTo>
                <a:close/>
                <a:moveTo>
                  <a:pt x="11323586" y="6129535"/>
                </a:moveTo>
                <a:lnTo>
                  <a:pt x="11377417" y="6199778"/>
                </a:lnTo>
                <a:cubicBezTo>
                  <a:pt x="11358678" y="6224570"/>
                  <a:pt x="11323236" y="6273513"/>
                  <a:pt x="11323236" y="6273513"/>
                </a:cubicBezTo>
                <a:lnTo>
                  <a:pt x="11383760" y="6273513"/>
                </a:lnTo>
                <a:lnTo>
                  <a:pt x="11408145" y="6234880"/>
                </a:lnTo>
                <a:lnTo>
                  <a:pt x="11432529" y="6273513"/>
                </a:lnTo>
                <a:lnTo>
                  <a:pt x="11492937" y="6273513"/>
                </a:lnTo>
                <a:cubicBezTo>
                  <a:pt x="11492937" y="6273513"/>
                  <a:pt x="11457496" y="6224570"/>
                  <a:pt x="11438756" y="6199778"/>
                </a:cubicBezTo>
                <a:lnTo>
                  <a:pt x="11492646" y="6129535"/>
                </a:lnTo>
                <a:lnTo>
                  <a:pt x="11433111" y="6129535"/>
                </a:lnTo>
                <a:lnTo>
                  <a:pt x="11408087" y="6163575"/>
                </a:lnTo>
                <a:lnTo>
                  <a:pt x="11383237" y="6129535"/>
                </a:lnTo>
                <a:close/>
                <a:moveTo>
                  <a:pt x="11260733" y="6129535"/>
                </a:moveTo>
                <a:lnTo>
                  <a:pt x="11260733" y="6273513"/>
                </a:lnTo>
                <a:lnTo>
                  <a:pt x="11316893" y="6273513"/>
                </a:lnTo>
                <a:lnTo>
                  <a:pt x="11316893" y="6129535"/>
                </a:lnTo>
                <a:close/>
                <a:moveTo>
                  <a:pt x="11084806" y="6129477"/>
                </a:moveTo>
                <a:lnTo>
                  <a:pt x="11084806" y="6273513"/>
                </a:lnTo>
                <a:lnTo>
                  <a:pt x="11137182" y="6273513"/>
                </a:lnTo>
                <a:lnTo>
                  <a:pt x="11137182" y="6212581"/>
                </a:lnTo>
                <a:lnTo>
                  <a:pt x="11199103" y="6273513"/>
                </a:lnTo>
                <a:lnTo>
                  <a:pt x="11243099" y="6273513"/>
                </a:lnTo>
                <a:lnTo>
                  <a:pt x="11243099" y="6129535"/>
                </a:lnTo>
                <a:lnTo>
                  <a:pt x="11190723" y="6129535"/>
                </a:lnTo>
                <a:lnTo>
                  <a:pt x="11190723" y="6190583"/>
                </a:lnTo>
                <a:lnTo>
                  <a:pt x="11126300" y="6129477"/>
                </a:lnTo>
                <a:close/>
                <a:moveTo>
                  <a:pt x="10938325" y="6129477"/>
                </a:moveTo>
                <a:cubicBezTo>
                  <a:pt x="10912719" y="6129477"/>
                  <a:pt x="10897588" y="6134307"/>
                  <a:pt x="10882923" y="6148274"/>
                </a:cubicBezTo>
                <a:cubicBezTo>
                  <a:pt x="10868257" y="6162241"/>
                  <a:pt x="10862728" y="6179642"/>
                  <a:pt x="10862728" y="6201989"/>
                </a:cubicBezTo>
                <a:cubicBezTo>
                  <a:pt x="10862670" y="6220909"/>
                  <a:pt x="10869886" y="6239119"/>
                  <a:pt x="10882923" y="6252853"/>
                </a:cubicBezTo>
                <a:cubicBezTo>
                  <a:pt x="10897879" y="6266896"/>
                  <a:pt x="10917898" y="6274333"/>
                  <a:pt x="10938383" y="6273513"/>
                </a:cubicBezTo>
                <a:lnTo>
                  <a:pt x="11069383" y="6273513"/>
                </a:lnTo>
                <a:lnTo>
                  <a:pt x="11069383" y="6238595"/>
                </a:lnTo>
                <a:lnTo>
                  <a:pt x="11010430" y="6238595"/>
                </a:lnTo>
                <a:lnTo>
                  <a:pt x="11010430" y="6218459"/>
                </a:lnTo>
                <a:lnTo>
                  <a:pt x="11068627" y="6218459"/>
                </a:lnTo>
                <a:lnTo>
                  <a:pt x="11068627" y="6184181"/>
                </a:lnTo>
                <a:lnTo>
                  <a:pt x="11010430" y="6184181"/>
                </a:lnTo>
                <a:lnTo>
                  <a:pt x="11010430" y="6164278"/>
                </a:lnTo>
                <a:lnTo>
                  <a:pt x="11069383" y="6164278"/>
                </a:lnTo>
                <a:lnTo>
                  <a:pt x="11069383" y="6129651"/>
                </a:lnTo>
                <a:lnTo>
                  <a:pt x="11069383" y="6129477"/>
                </a:lnTo>
                <a:close/>
                <a:moveTo>
                  <a:pt x="10751340" y="6129477"/>
                </a:moveTo>
                <a:lnTo>
                  <a:pt x="10751340" y="6129535"/>
                </a:lnTo>
                <a:lnTo>
                  <a:pt x="10699021" y="6129535"/>
                </a:lnTo>
                <a:lnTo>
                  <a:pt x="10699021" y="6273571"/>
                </a:lnTo>
                <a:lnTo>
                  <a:pt x="10751398" y="6273571"/>
                </a:lnTo>
                <a:lnTo>
                  <a:pt x="10751398" y="6221194"/>
                </a:lnTo>
                <a:lnTo>
                  <a:pt x="10796268" y="6221194"/>
                </a:lnTo>
                <a:lnTo>
                  <a:pt x="10796268" y="6273571"/>
                </a:lnTo>
                <a:lnTo>
                  <a:pt x="10848645" y="6273571"/>
                </a:lnTo>
                <a:lnTo>
                  <a:pt x="10848645" y="6129477"/>
                </a:lnTo>
                <a:lnTo>
                  <a:pt x="10796268" y="6129477"/>
                </a:lnTo>
                <a:lnTo>
                  <a:pt x="10796268" y="6178653"/>
                </a:lnTo>
                <a:lnTo>
                  <a:pt x="10751340" y="6178653"/>
                </a:lnTo>
                <a:lnTo>
                  <a:pt x="10751340" y="6129535"/>
                </a:lnTo>
                <a:lnTo>
                  <a:pt x="10751398" y="6129535"/>
                </a:lnTo>
                <a:close/>
                <a:moveTo>
                  <a:pt x="10559176" y="6129477"/>
                </a:moveTo>
                <a:lnTo>
                  <a:pt x="10559176" y="6273513"/>
                </a:lnTo>
                <a:lnTo>
                  <a:pt x="10611553" y="6273513"/>
                </a:lnTo>
                <a:lnTo>
                  <a:pt x="10611553" y="6231961"/>
                </a:lnTo>
                <a:lnTo>
                  <a:pt x="10630990" y="6231961"/>
                </a:lnTo>
                <a:cubicBezTo>
                  <a:pt x="10660729" y="6231961"/>
                  <a:pt x="10690932" y="6211126"/>
                  <a:pt x="10690758" y="6180340"/>
                </a:cubicBezTo>
                <a:cubicBezTo>
                  <a:pt x="10690583" y="6149554"/>
                  <a:pt x="10670098" y="6129477"/>
                  <a:pt x="10630990" y="6129477"/>
                </a:cubicBezTo>
                <a:close/>
                <a:moveTo>
                  <a:pt x="10259173" y="6129477"/>
                </a:moveTo>
                <a:cubicBezTo>
                  <a:pt x="10247359" y="6129477"/>
                  <a:pt x="10237757" y="6139056"/>
                  <a:pt x="10237699" y="6150893"/>
                </a:cubicBezTo>
                <a:lnTo>
                  <a:pt x="10237699" y="6414057"/>
                </a:lnTo>
                <a:cubicBezTo>
                  <a:pt x="10237699" y="6425883"/>
                  <a:pt x="10247301" y="6435474"/>
                  <a:pt x="10259115" y="6435474"/>
                </a:cubicBezTo>
                <a:cubicBezTo>
                  <a:pt x="10259115" y="6435474"/>
                  <a:pt x="10259173" y="6435474"/>
                  <a:pt x="10259173" y="6435474"/>
                </a:cubicBezTo>
                <a:lnTo>
                  <a:pt x="10519486" y="6435474"/>
                </a:lnTo>
                <a:cubicBezTo>
                  <a:pt x="10531300" y="6435474"/>
                  <a:pt x="10540902" y="6425883"/>
                  <a:pt x="10540902" y="6414057"/>
                </a:cubicBezTo>
                <a:lnTo>
                  <a:pt x="10540902" y="6150893"/>
                </a:lnTo>
                <a:cubicBezTo>
                  <a:pt x="10540902" y="6139067"/>
                  <a:pt x="10531300" y="6129477"/>
                  <a:pt x="10519486" y="6129477"/>
                </a:cubicBezTo>
                <a:close/>
                <a:moveTo>
                  <a:pt x="0" y="0"/>
                </a:moveTo>
                <a:lnTo>
                  <a:pt x="12192000" y="0"/>
                </a:lnTo>
                <a:lnTo>
                  <a:pt x="12192000" y="6858000"/>
                </a:lnTo>
                <a:lnTo>
                  <a:pt x="0" y="6858000"/>
                </a:lnTo>
                <a:close/>
              </a:path>
            </a:pathLst>
          </a:custGeom>
          <a:solidFill>
            <a:schemeClr val="bg2">
              <a:lumMod val="95000"/>
            </a:schemeClr>
          </a:solidFill>
        </p:spPr>
        <p:txBody>
          <a:bodyPr wrap="square" bIns="720000" anchor="ctr" anchorCtr="0">
            <a:noAutofit/>
          </a:bodyPr>
          <a:lstStyle>
            <a:lvl1pPr marL="0" indent="0" algn="ctr">
              <a:buNone/>
              <a:defRPr/>
            </a:lvl1pPr>
          </a:lstStyle>
          <a:p>
            <a:r>
              <a:rPr lang="de-DE" dirty="0"/>
              <a:t>Picture</a:t>
            </a:r>
          </a:p>
        </p:txBody>
      </p:sp>
    </p:spTree>
    <p:extLst>
      <p:ext uri="{BB962C8B-B14F-4D97-AF65-F5344CB8AC3E}">
        <p14:creationId xmlns:p14="http://schemas.microsoft.com/office/powerpoint/2010/main" val="276985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dark">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7D9B264-2132-4C66-A04A-30A25396E24D}"/>
              </a:ext>
            </a:extLst>
          </p:cNvPr>
          <p:cNvSpPr>
            <a:spLocks noGrp="1"/>
          </p:cNvSpPr>
          <p:nvPr>
            <p:ph type="pic" sz="quarter" idx="10" hasCustomPrompt="1"/>
          </p:nvPr>
        </p:nvSpPr>
        <p:spPr bwMode="gray">
          <a:xfrm>
            <a:off x="0" y="0"/>
            <a:ext cx="12192000" cy="6858000"/>
          </a:xfrm>
          <a:custGeom>
            <a:avLst/>
            <a:gdLst>
              <a:gd name="connsiteX0" fmla="*/ 11197940 w 12192000"/>
              <a:gd name="connsiteY0" fmla="*/ 6340148 h 6858000"/>
              <a:gd name="connsiteX1" fmla="*/ 11209113 w 12192000"/>
              <a:gd name="connsiteY1" fmla="*/ 6376055 h 6858000"/>
              <a:gd name="connsiteX2" fmla="*/ 11186708 w 12192000"/>
              <a:gd name="connsiteY2" fmla="*/ 6376055 h 6858000"/>
              <a:gd name="connsiteX3" fmla="*/ 10758499 w 12192000"/>
              <a:gd name="connsiteY3" fmla="*/ 6332059 h 6858000"/>
              <a:gd name="connsiteX4" fmla="*/ 10783465 w 12192000"/>
              <a:gd name="connsiteY4" fmla="*/ 6364008 h 6858000"/>
              <a:gd name="connsiteX5" fmla="*/ 10758499 w 12192000"/>
              <a:gd name="connsiteY5" fmla="*/ 6395202 h 6858000"/>
              <a:gd name="connsiteX6" fmla="*/ 10733707 w 12192000"/>
              <a:gd name="connsiteY6" fmla="*/ 6364008 h 6858000"/>
              <a:gd name="connsiteX7" fmla="*/ 10758499 w 12192000"/>
              <a:gd name="connsiteY7" fmla="*/ 6332059 h 6858000"/>
              <a:gd name="connsiteX8" fmla="*/ 11352974 w 12192000"/>
              <a:gd name="connsiteY8" fmla="*/ 6291321 h 6858000"/>
              <a:gd name="connsiteX9" fmla="*/ 11274351 w 12192000"/>
              <a:gd name="connsiteY9" fmla="*/ 6363834 h 6858000"/>
              <a:gd name="connsiteX10" fmla="*/ 11352916 w 12192000"/>
              <a:gd name="connsiteY10" fmla="*/ 6438558 h 6858000"/>
              <a:gd name="connsiteX11" fmla="*/ 11389755 w 12192000"/>
              <a:gd name="connsiteY11" fmla="*/ 6428897 h 6858000"/>
              <a:gd name="connsiteX12" fmla="*/ 11389755 w 12192000"/>
              <a:gd name="connsiteY12" fmla="*/ 6389789 h 6858000"/>
              <a:gd name="connsiteX13" fmla="*/ 11362693 w 12192000"/>
              <a:gd name="connsiteY13" fmla="*/ 6399159 h 6858000"/>
              <a:gd name="connsiteX14" fmla="*/ 11326146 w 12192000"/>
              <a:gd name="connsiteY14" fmla="*/ 6363834 h 6858000"/>
              <a:gd name="connsiteX15" fmla="*/ 11357339 w 12192000"/>
              <a:gd name="connsiteY15" fmla="*/ 6329614 h 6858000"/>
              <a:gd name="connsiteX16" fmla="*/ 11404246 w 12192000"/>
              <a:gd name="connsiteY16" fmla="*/ 6329614 h 6858000"/>
              <a:gd name="connsiteX17" fmla="*/ 11404246 w 12192000"/>
              <a:gd name="connsiteY17" fmla="*/ 6435415 h 6858000"/>
              <a:gd name="connsiteX18" fmla="*/ 11456622 w 12192000"/>
              <a:gd name="connsiteY18" fmla="*/ 6435415 h 6858000"/>
              <a:gd name="connsiteX19" fmla="*/ 11456622 w 12192000"/>
              <a:gd name="connsiteY19" fmla="*/ 6329614 h 6858000"/>
              <a:gd name="connsiteX20" fmla="*/ 11492472 w 12192000"/>
              <a:gd name="connsiteY20" fmla="*/ 6329614 h 6858000"/>
              <a:gd name="connsiteX21" fmla="*/ 11492472 w 12192000"/>
              <a:gd name="connsiteY21" fmla="*/ 6291321 h 6858000"/>
              <a:gd name="connsiteX22" fmla="*/ 11170122 w 12192000"/>
              <a:gd name="connsiteY22" fmla="*/ 6291321 h 6858000"/>
              <a:gd name="connsiteX23" fmla="*/ 11110587 w 12192000"/>
              <a:gd name="connsiteY23" fmla="*/ 6435415 h 6858000"/>
              <a:gd name="connsiteX24" fmla="*/ 11164534 w 12192000"/>
              <a:gd name="connsiteY24" fmla="*/ 6435415 h 6858000"/>
              <a:gd name="connsiteX25" fmla="*/ 11174777 w 12192000"/>
              <a:gd name="connsiteY25" fmla="*/ 6409401 h 6858000"/>
              <a:gd name="connsiteX26" fmla="*/ 11221334 w 12192000"/>
              <a:gd name="connsiteY26" fmla="*/ 6409401 h 6858000"/>
              <a:gd name="connsiteX27" fmla="*/ 11231577 w 12192000"/>
              <a:gd name="connsiteY27" fmla="*/ 6435415 h 6858000"/>
              <a:gd name="connsiteX28" fmla="*/ 11284885 w 12192000"/>
              <a:gd name="connsiteY28" fmla="*/ 6435415 h 6858000"/>
              <a:gd name="connsiteX29" fmla="*/ 11225990 w 12192000"/>
              <a:gd name="connsiteY29" fmla="*/ 6291321 h 6858000"/>
              <a:gd name="connsiteX30" fmla="*/ 11225932 w 12192000"/>
              <a:gd name="connsiteY30" fmla="*/ 6291321 h 6858000"/>
              <a:gd name="connsiteX31" fmla="*/ 11013922 w 12192000"/>
              <a:gd name="connsiteY31" fmla="*/ 6291321 h 6858000"/>
              <a:gd name="connsiteX32" fmla="*/ 11013922 w 12192000"/>
              <a:gd name="connsiteY32" fmla="*/ 6329672 h 6858000"/>
              <a:gd name="connsiteX33" fmla="*/ 11050644 w 12192000"/>
              <a:gd name="connsiteY33" fmla="*/ 6329672 h 6858000"/>
              <a:gd name="connsiteX34" fmla="*/ 11050644 w 12192000"/>
              <a:gd name="connsiteY34" fmla="*/ 6435474 h 6858000"/>
              <a:gd name="connsiteX35" fmla="*/ 11102498 w 12192000"/>
              <a:gd name="connsiteY35" fmla="*/ 6435474 h 6858000"/>
              <a:gd name="connsiteX36" fmla="*/ 11102498 w 12192000"/>
              <a:gd name="connsiteY36" fmla="*/ 6329614 h 6858000"/>
              <a:gd name="connsiteX37" fmla="*/ 11137997 w 12192000"/>
              <a:gd name="connsiteY37" fmla="*/ 6329614 h 6858000"/>
              <a:gd name="connsiteX38" fmla="*/ 11137997 w 12192000"/>
              <a:gd name="connsiteY38" fmla="*/ 6291321 h 6858000"/>
              <a:gd name="connsiteX39" fmla="*/ 11137764 w 12192000"/>
              <a:gd name="connsiteY39" fmla="*/ 6291321 h 6858000"/>
              <a:gd name="connsiteX40" fmla="*/ 10850332 w 12192000"/>
              <a:gd name="connsiteY40" fmla="*/ 6291321 h 6858000"/>
              <a:gd name="connsiteX41" fmla="*/ 10850332 w 12192000"/>
              <a:gd name="connsiteY41" fmla="*/ 6435415 h 6858000"/>
              <a:gd name="connsiteX42" fmla="*/ 10902709 w 12192000"/>
              <a:gd name="connsiteY42" fmla="*/ 6435415 h 6858000"/>
              <a:gd name="connsiteX43" fmla="*/ 10902709 w 12192000"/>
              <a:gd name="connsiteY43" fmla="*/ 6374426 h 6858000"/>
              <a:gd name="connsiteX44" fmla="*/ 10963350 w 12192000"/>
              <a:gd name="connsiteY44" fmla="*/ 6435415 h 6858000"/>
              <a:gd name="connsiteX45" fmla="*/ 11007114 w 12192000"/>
              <a:gd name="connsiteY45" fmla="*/ 6435415 h 6858000"/>
              <a:gd name="connsiteX46" fmla="*/ 11007114 w 12192000"/>
              <a:gd name="connsiteY46" fmla="*/ 6291321 h 6858000"/>
              <a:gd name="connsiteX47" fmla="*/ 10953980 w 12192000"/>
              <a:gd name="connsiteY47" fmla="*/ 6291321 h 6858000"/>
              <a:gd name="connsiteX48" fmla="*/ 10953980 w 12192000"/>
              <a:gd name="connsiteY48" fmla="*/ 6353417 h 6858000"/>
              <a:gd name="connsiteX49" fmla="*/ 10891710 w 12192000"/>
              <a:gd name="connsiteY49" fmla="*/ 6291321 h 6858000"/>
              <a:gd name="connsiteX50" fmla="*/ 10628080 w 12192000"/>
              <a:gd name="connsiteY50" fmla="*/ 6288237 h 6858000"/>
              <a:gd name="connsiteX51" fmla="*/ 10551087 w 12192000"/>
              <a:gd name="connsiteY51" fmla="*/ 6363892 h 6858000"/>
              <a:gd name="connsiteX52" fmla="*/ 10632562 w 12192000"/>
              <a:gd name="connsiteY52" fmla="*/ 6438616 h 6858000"/>
              <a:gd name="connsiteX53" fmla="*/ 10671611 w 12192000"/>
              <a:gd name="connsiteY53" fmla="*/ 6430411 h 6858000"/>
              <a:gd name="connsiteX54" fmla="*/ 10671611 w 12192000"/>
              <a:gd name="connsiteY54" fmla="*/ 6388509 h 6858000"/>
              <a:gd name="connsiteX55" fmla="*/ 10640243 w 12192000"/>
              <a:gd name="connsiteY55" fmla="*/ 6398170 h 6858000"/>
              <a:gd name="connsiteX56" fmla="*/ 10605325 w 12192000"/>
              <a:gd name="connsiteY56" fmla="*/ 6363892 h 6858000"/>
              <a:gd name="connsiteX57" fmla="*/ 10640418 w 12192000"/>
              <a:gd name="connsiteY57" fmla="*/ 6328450 h 6858000"/>
              <a:gd name="connsiteX58" fmla="*/ 10640593 w 12192000"/>
              <a:gd name="connsiteY58" fmla="*/ 6328450 h 6858000"/>
              <a:gd name="connsiteX59" fmla="*/ 10670563 w 12192000"/>
              <a:gd name="connsiteY59" fmla="*/ 6338460 h 6858000"/>
              <a:gd name="connsiteX60" fmla="*/ 10670563 w 12192000"/>
              <a:gd name="connsiteY60" fmla="*/ 6295686 h 6858000"/>
              <a:gd name="connsiteX61" fmla="*/ 10670622 w 12192000"/>
              <a:gd name="connsiteY61" fmla="*/ 6295628 h 6858000"/>
              <a:gd name="connsiteX62" fmla="*/ 10628080 w 12192000"/>
              <a:gd name="connsiteY62" fmla="*/ 6288237 h 6858000"/>
              <a:gd name="connsiteX63" fmla="*/ 10758149 w 12192000"/>
              <a:gd name="connsiteY63" fmla="*/ 6288120 h 6858000"/>
              <a:gd name="connsiteX64" fmla="*/ 10680981 w 12192000"/>
              <a:gd name="connsiteY64" fmla="*/ 6363775 h 6858000"/>
              <a:gd name="connsiteX65" fmla="*/ 10758149 w 12192000"/>
              <a:gd name="connsiteY65" fmla="*/ 6438441 h 6858000"/>
              <a:gd name="connsiteX66" fmla="*/ 10836423 w 12192000"/>
              <a:gd name="connsiteY66" fmla="*/ 6363775 h 6858000"/>
              <a:gd name="connsiteX67" fmla="*/ 10758149 w 12192000"/>
              <a:gd name="connsiteY67" fmla="*/ 6288120 h 6858000"/>
              <a:gd name="connsiteX68" fmla="*/ 10385984 w 12192000"/>
              <a:gd name="connsiteY68" fmla="*/ 6239992 h 6858000"/>
              <a:gd name="connsiteX69" fmla="*/ 10406876 w 12192000"/>
              <a:gd name="connsiteY69" fmla="*/ 6260768 h 6858000"/>
              <a:gd name="connsiteX70" fmla="*/ 10406876 w 12192000"/>
              <a:gd name="connsiteY70" fmla="*/ 6260884 h 6858000"/>
              <a:gd name="connsiteX71" fmla="*/ 10386100 w 12192000"/>
              <a:gd name="connsiteY71" fmla="*/ 6281660 h 6858000"/>
              <a:gd name="connsiteX72" fmla="*/ 10365207 w 12192000"/>
              <a:gd name="connsiteY72" fmla="*/ 6260884 h 6858000"/>
              <a:gd name="connsiteX73" fmla="*/ 10385984 w 12192000"/>
              <a:gd name="connsiteY73" fmla="*/ 6239992 h 6858000"/>
              <a:gd name="connsiteX74" fmla="*/ 11408029 w 12192000"/>
              <a:gd name="connsiteY74" fmla="*/ 6234696 h 6858000"/>
              <a:gd name="connsiteX75" fmla="*/ 11408261 w 12192000"/>
              <a:gd name="connsiteY75" fmla="*/ 6234696 h 6858000"/>
              <a:gd name="connsiteX76" fmla="*/ 11408145 w 12192000"/>
              <a:gd name="connsiteY76" fmla="*/ 6234880 h 6858000"/>
              <a:gd name="connsiteX77" fmla="*/ 10938151 w 12192000"/>
              <a:gd name="connsiteY77" fmla="*/ 6171204 h 6858000"/>
              <a:gd name="connsiteX78" fmla="*/ 10962826 w 12192000"/>
              <a:gd name="connsiteY78" fmla="*/ 6202222 h 6858000"/>
              <a:gd name="connsiteX79" fmla="*/ 10938209 w 12192000"/>
              <a:gd name="connsiteY79" fmla="*/ 6232368 h 6858000"/>
              <a:gd name="connsiteX80" fmla="*/ 10913825 w 12192000"/>
              <a:gd name="connsiteY80" fmla="*/ 6202222 h 6858000"/>
              <a:gd name="connsiteX81" fmla="*/ 10938151 w 12192000"/>
              <a:gd name="connsiteY81" fmla="*/ 6171204 h 6858000"/>
              <a:gd name="connsiteX82" fmla="*/ 10288272 w 12192000"/>
              <a:gd name="connsiteY82" fmla="*/ 6164336 h 6858000"/>
              <a:gd name="connsiteX83" fmla="*/ 10358573 w 12192000"/>
              <a:gd name="connsiteY83" fmla="*/ 6164336 h 6858000"/>
              <a:gd name="connsiteX84" fmla="*/ 10374286 w 12192000"/>
              <a:gd name="connsiteY84" fmla="*/ 6181039 h 6858000"/>
              <a:gd name="connsiteX85" fmla="*/ 10374286 w 12192000"/>
              <a:gd name="connsiteY85" fmla="*/ 6208973 h 6858000"/>
              <a:gd name="connsiteX86" fmla="*/ 10357351 w 12192000"/>
              <a:gd name="connsiteY86" fmla="*/ 6228585 h 6858000"/>
              <a:gd name="connsiteX87" fmla="*/ 10342162 w 12192000"/>
              <a:gd name="connsiteY87" fmla="*/ 6260768 h 6858000"/>
              <a:gd name="connsiteX88" fmla="*/ 10363229 w 12192000"/>
              <a:gd name="connsiteY88" fmla="*/ 6297839 h 6858000"/>
              <a:gd name="connsiteX89" fmla="*/ 10374170 w 12192000"/>
              <a:gd name="connsiteY89" fmla="*/ 6317917 h 6858000"/>
              <a:gd name="connsiteX90" fmla="*/ 10374461 w 12192000"/>
              <a:gd name="connsiteY90" fmla="*/ 6317917 h 6858000"/>
              <a:gd name="connsiteX91" fmla="*/ 10374461 w 12192000"/>
              <a:gd name="connsiteY91" fmla="*/ 6385657 h 6858000"/>
              <a:gd name="connsiteX92" fmla="*/ 10358457 w 12192000"/>
              <a:gd name="connsiteY92" fmla="*/ 6401545 h 6858000"/>
              <a:gd name="connsiteX93" fmla="*/ 10289494 w 12192000"/>
              <a:gd name="connsiteY93" fmla="*/ 6401545 h 6858000"/>
              <a:gd name="connsiteX94" fmla="*/ 10272442 w 12192000"/>
              <a:gd name="connsiteY94" fmla="*/ 6385366 h 6858000"/>
              <a:gd name="connsiteX95" fmla="*/ 10272442 w 12192000"/>
              <a:gd name="connsiteY95" fmla="*/ 6180166 h 6858000"/>
              <a:gd name="connsiteX96" fmla="*/ 10288272 w 12192000"/>
              <a:gd name="connsiteY96" fmla="*/ 6164336 h 6858000"/>
              <a:gd name="connsiteX97" fmla="*/ 10412754 w 12192000"/>
              <a:gd name="connsiteY97" fmla="*/ 6164162 h 6858000"/>
              <a:gd name="connsiteX98" fmla="*/ 10506973 w 12192000"/>
              <a:gd name="connsiteY98" fmla="*/ 6259778 h 6858000"/>
              <a:gd name="connsiteX99" fmla="*/ 10412521 w 12192000"/>
              <a:gd name="connsiteY99" fmla="*/ 6356967 h 6858000"/>
              <a:gd name="connsiteX100" fmla="*/ 10397157 w 12192000"/>
              <a:gd name="connsiteY100" fmla="*/ 6344105 h 6858000"/>
              <a:gd name="connsiteX101" fmla="*/ 10396983 w 12192000"/>
              <a:gd name="connsiteY101" fmla="*/ 6344105 h 6858000"/>
              <a:gd name="connsiteX102" fmla="*/ 10396983 w 12192000"/>
              <a:gd name="connsiteY102" fmla="*/ 6317800 h 6858000"/>
              <a:gd name="connsiteX103" fmla="*/ 10407924 w 12192000"/>
              <a:gd name="connsiteY103" fmla="*/ 6297839 h 6858000"/>
              <a:gd name="connsiteX104" fmla="*/ 10429048 w 12192000"/>
              <a:gd name="connsiteY104" fmla="*/ 6260826 h 6858000"/>
              <a:gd name="connsiteX105" fmla="*/ 10414034 w 12192000"/>
              <a:gd name="connsiteY105" fmla="*/ 6228585 h 6858000"/>
              <a:gd name="connsiteX106" fmla="*/ 10397099 w 12192000"/>
              <a:gd name="connsiteY106" fmla="*/ 6208915 h 6858000"/>
              <a:gd name="connsiteX107" fmla="*/ 10397099 w 12192000"/>
              <a:gd name="connsiteY107" fmla="*/ 6180981 h 6858000"/>
              <a:gd name="connsiteX108" fmla="*/ 10412754 w 12192000"/>
              <a:gd name="connsiteY108" fmla="*/ 6164162 h 6858000"/>
              <a:gd name="connsiteX109" fmla="*/ 10611785 w 12192000"/>
              <a:gd name="connsiteY109" fmla="*/ 6163987 h 6858000"/>
              <a:gd name="connsiteX110" fmla="*/ 10619991 w 12192000"/>
              <a:gd name="connsiteY110" fmla="*/ 6163987 h 6858000"/>
              <a:gd name="connsiteX111" fmla="*/ 10638498 w 12192000"/>
              <a:gd name="connsiteY111" fmla="*/ 6178548 h 6858000"/>
              <a:gd name="connsiteX112" fmla="*/ 10623949 w 12192000"/>
              <a:gd name="connsiteY112" fmla="*/ 6197043 h 6858000"/>
              <a:gd name="connsiteX113" fmla="*/ 10619991 w 12192000"/>
              <a:gd name="connsiteY113" fmla="*/ 6197043 h 6858000"/>
              <a:gd name="connsiteX114" fmla="*/ 10611785 w 12192000"/>
              <a:gd name="connsiteY114" fmla="*/ 6197043 h 6858000"/>
              <a:gd name="connsiteX115" fmla="*/ 11408087 w 12192000"/>
              <a:gd name="connsiteY115" fmla="*/ 6163575 h 6858000"/>
              <a:gd name="connsiteX116" fmla="*/ 11408261 w 12192000"/>
              <a:gd name="connsiteY116" fmla="*/ 6163813 h 6858000"/>
              <a:gd name="connsiteX117" fmla="*/ 11407912 w 12192000"/>
              <a:gd name="connsiteY117" fmla="*/ 6163813 h 6858000"/>
              <a:gd name="connsiteX118" fmla="*/ 11323586 w 12192000"/>
              <a:gd name="connsiteY118" fmla="*/ 6129535 h 6858000"/>
              <a:gd name="connsiteX119" fmla="*/ 11377417 w 12192000"/>
              <a:gd name="connsiteY119" fmla="*/ 6199778 h 6858000"/>
              <a:gd name="connsiteX120" fmla="*/ 11323236 w 12192000"/>
              <a:gd name="connsiteY120" fmla="*/ 6273513 h 6858000"/>
              <a:gd name="connsiteX121" fmla="*/ 11383760 w 12192000"/>
              <a:gd name="connsiteY121" fmla="*/ 6273513 h 6858000"/>
              <a:gd name="connsiteX122" fmla="*/ 11408145 w 12192000"/>
              <a:gd name="connsiteY122" fmla="*/ 6234880 h 6858000"/>
              <a:gd name="connsiteX123" fmla="*/ 11432529 w 12192000"/>
              <a:gd name="connsiteY123" fmla="*/ 6273513 h 6858000"/>
              <a:gd name="connsiteX124" fmla="*/ 11492937 w 12192000"/>
              <a:gd name="connsiteY124" fmla="*/ 6273513 h 6858000"/>
              <a:gd name="connsiteX125" fmla="*/ 11438756 w 12192000"/>
              <a:gd name="connsiteY125" fmla="*/ 6199778 h 6858000"/>
              <a:gd name="connsiteX126" fmla="*/ 11492646 w 12192000"/>
              <a:gd name="connsiteY126" fmla="*/ 6129535 h 6858000"/>
              <a:gd name="connsiteX127" fmla="*/ 11433111 w 12192000"/>
              <a:gd name="connsiteY127" fmla="*/ 6129535 h 6858000"/>
              <a:gd name="connsiteX128" fmla="*/ 11408087 w 12192000"/>
              <a:gd name="connsiteY128" fmla="*/ 6163575 h 6858000"/>
              <a:gd name="connsiteX129" fmla="*/ 11383237 w 12192000"/>
              <a:gd name="connsiteY129" fmla="*/ 6129535 h 6858000"/>
              <a:gd name="connsiteX130" fmla="*/ 11260733 w 12192000"/>
              <a:gd name="connsiteY130" fmla="*/ 6129535 h 6858000"/>
              <a:gd name="connsiteX131" fmla="*/ 11260733 w 12192000"/>
              <a:gd name="connsiteY131" fmla="*/ 6273513 h 6858000"/>
              <a:gd name="connsiteX132" fmla="*/ 11316893 w 12192000"/>
              <a:gd name="connsiteY132" fmla="*/ 6273513 h 6858000"/>
              <a:gd name="connsiteX133" fmla="*/ 11316893 w 12192000"/>
              <a:gd name="connsiteY133" fmla="*/ 6129535 h 6858000"/>
              <a:gd name="connsiteX134" fmla="*/ 11084806 w 12192000"/>
              <a:gd name="connsiteY134" fmla="*/ 6129477 h 6858000"/>
              <a:gd name="connsiteX135" fmla="*/ 11084806 w 12192000"/>
              <a:gd name="connsiteY135" fmla="*/ 6273513 h 6858000"/>
              <a:gd name="connsiteX136" fmla="*/ 11137182 w 12192000"/>
              <a:gd name="connsiteY136" fmla="*/ 6273513 h 6858000"/>
              <a:gd name="connsiteX137" fmla="*/ 11137182 w 12192000"/>
              <a:gd name="connsiteY137" fmla="*/ 6212581 h 6858000"/>
              <a:gd name="connsiteX138" fmla="*/ 11199103 w 12192000"/>
              <a:gd name="connsiteY138" fmla="*/ 6273513 h 6858000"/>
              <a:gd name="connsiteX139" fmla="*/ 11243099 w 12192000"/>
              <a:gd name="connsiteY139" fmla="*/ 6273513 h 6858000"/>
              <a:gd name="connsiteX140" fmla="*/ 11243099 w 12192000"/>
              <a:gd name="connsiteY140" fmla="*/ 6129535 h 6858000"/>
              <a:gd name="connsiteX141" fmla="*/ 11190723 w 12192000"/>
              <a:gd name="connsiteY141" fmla="*/ 6129535 h 6858000"/>
              <a:gd name="connsiteX142" fmla="*/ 11190723 w 12192000"/>
              <a:gd name="connsiteY142" fmla="*/ 6190583 h 6858000"/>
              <a:gd name="connsiteX143" fmla="*/ 11126300 w 12192000"/>
              <a:gd name="connsiteY143" fmla="*/ 6129477 h 6858000"/>
              <a:gd name="connsiteX144" fmla="*/ 10938325 w 12192000"/>
              <a:gd name="connsiteY144" fmla="*/ 6129477 h 6858000"/>
              <a:gd name="connsiteX145" fmla="*/ 10882923 w 12192000"/>
              <a:gd name="connsiteY145" fmla="*/ 6148274 h 6858000"/>
              <a:gd name="connsiteX146" fmla="*/ 10862728 w 12192000"/>
              <a:gd name="connsiteY146" fmla="*/ 6201989 h 6858000"/>
              <a:gd name="connsiteX147" fmla="*/ 10882923 w 12192000"/>
              <a:gd name="connsiteY147" fmla="*/ 6252853 h 6858000"/>
              <a:gd name="connsiteX148" fmla="*/ 10938383 w 12192000"/>
              <a:gd name="connsiteY148" fmla="*/ 6273513 h 6858000"/>
              <a:gd name="connsiteX149" fmla="*/ 11069383 w 12192000"/>
              <a:gd name="connsiteY149" fmla="*/ 6273513 h 6858000"/>
              <a:gd name="connsiteX150" fmla="*/ 11069383 w 12192000"/>
              <a:gd name="connsiteY150" fmla="*/ 6238595 h 6858000"/>
              <a:gd name="connsiteX151" fmla="*/ 11010430 w 12192000"/>
              <a:gd name="connsiteY151" fmla="*/ 6238595 h 6858000"/>
              <a:gd name="connsiteX152" fmla="*/ 11010430 w 12192000"/>
              <a:gd name="connsiteY152" fmla="*/ 6218459 h 6858000"/>
              <a:gd name="connsiteX153" fmla="*/ 11068627 w 12192000"/>
              <a:gd name="connsiteY153" fmla="*/ 6218459 h 6858000"/>
              <a:gd name="connsiteX154" fmla="*/ 11068627 w 12192000"/>
              <a:gd name="connsiteY154" fmla="*/ 6184181 h 6858000"/>
              <a:gd name="connsiteX155" fmla="*/ 11010430 w 12192000"/>
              <a:gd name="connsiteY155" fmla="*/ 6184181 h 6858000"/>
              <a:gd name="connsiteX156" fmla="*/ 11010430 w 12192000"/>
              <a:gd name="connsiteY156" fmla="*/ 6164278 h 6858000"/>
              <a:gd name="connsiteX157" fmla="*/ 11069383 w 12192000"/>
              <a:gd name="connsiteY157" fmla="*/ 6164278 h 6858000"/>
              <a:gd name="connsiteX158" fmla="*/ 11069383 w 12192000"/>
              <a:gd name="connsiteY158" fmla="*/ 6129651 h 6858000"/>
              <a:gd name="connsiteX159" fmla="*/ 11069383 w 12192000"/>
              <a:gd name="connsiteY159" fmla="*/ 6129477 h 6858000"/>
              <a:gd name="connsiteX160" fmla="*/ 10751340 w 12192000"/>
              <a:gd name="connsiteY160" fmla="*/ 6129477 h 6858000"/>
              <a:gd name="connsiteX161" fmla="*/ 10751340 w 12192000"/>
              <a:gd name="connsiteY161" fmla="*/ 6129535 h 6858000"/>
              <a:gd name="connsiteX162" fmla="*/ 10699021 w 12192000"/>
              <a:gd name="connsiteY162" fmla="*/ 6129535 h 6858000"/>
              <a:gd name="connsiteX163" fmla="*/ 10699021 w 12192000"/>
              <a:gd name="connsiteY163" fmla="*/ 6273571 h 6858000"/>
              <a:gd name="connsiteX164" fmla="*/ 10751398 w 12192000"/>
              <a:gd name="connsiteY164" fmla="*/ 6273571 h 6858000"/>
              <a:gd name="connsiteX165" fmla="*/ 10751398 w 12192000"/>
              <a:gd name="connsiteY165" fmla="*/ 6221194 h 6858000"/>
              <a:gd name="connsiteX166" fmla="*/ 10796268 w 12192000"/>
              <a:gd name="connsiteY166" fmla="*/ 6221194 h 6858000"/>
              <a:gd name="connsiteX167" fmla="*/ 10796268 w 12192000"/>
              <a:gd name="connsiteY167" fmla="*/ 6273571 h 6858000"/>
              <a:gd name="connsiteX168" fmla="*/ 10848645 w 12192000"/>
              <a:gd name="connsiteY168" fmla="*/ 6273571 h 6858000"/>
              <a:gd name="connsiteX169" fmla="*/ 10848645 w 12192000"/>
              <a:gd name="connsiteY169" fmla="*/ 6129477 h 6858000"/>
              <a:gd name="connsiteX170" fmla="*/ 10796268 w 12192000"/>
              <a:gd name="connsiteY170" fmla="*/ 6129477 h 6858000"/>
              <a:gd name="connsiteX171" fmla="*/ 10796268 w 12192000"/>
              <a:gd name="connsiteY171" fmla="*/ 6178653 h 6858000"/>
              <a:gd name="connsiteX172" fmla="*/ 10751340 w 12192000"/>
              <a:gd name="connsiteY172" fmla="*/ 6178653 h 6858000"/>
              <a:gd name="connsiteX173" fmla="*/ 10751340 w 12192000"/>
              <a:gd name="connsiteY173" fmla="*/ 6129535 h 6858000"/>
              <a:gd name="connsiteX174" fmla="*/ 10751398 w 12192000"/>
              <a:gd name="connsiteY174" fmla="*/ 6129535 h 6858000"/>
              <a:gd name="connsiteX175" fmla="*/ 10559176 w 12192000"/>
              <a:gd name="connsiteY175" fmla="*/ 6129477 h 6858000"/>
              <a:gd name="connsiteX176" fmla="*/ 10559176 w 12192000"/>
              <a:gd name="connsiteY176" fmla="*/ 6273513 h 6858000"/>
              <a:gd name="connsiteX177" fmla="*/ 10611553 w 12192000"/>
              <a:gd name="connsiteY177" fmla="*/ 6273513 h 6858000"/>
              <a:gd name="connsiteX178" fmla="*/ 10611553 w 12192000"/>
              <a:gd name="connsiteY178" fmla="*/ 6231961 h 6858000"/>
              <a:gd name="connsiteX179" fmla="*/ 10630990 w 12192000"/>
              <a:gd name="connsiteY179" fmla="*/ 6231961 h 6858000"/>
              <a:gd name="connsiteX180" fmla="*/ 10690758 w 12192000"/>
              <a:gd name="connsiteY180" fmla="*/ 6180340 h 6858000"/>
              <a:gd name="connsiteX181" fmla="*/ 10630990 w 12192000"/>
              <a:gd name="connsiteY181" fmla="*/ 6129477 h 6858000"/>
              <a:gd name="connsiteX182" fmla="*/ 10259173 w 12192000"/>
              <a:gd name="connsiteY182" fmla="*/ 6129477 h 6858000"/>
              <a:gd name="connsiteX183" fmla="*/ 10237699 w 12192000"/>
              <a:gd name="connsiteY183" fmla="*/ 6150893 h 6858000"/>
              <a:gd name="connsiteX184" fmla="*/ 10237699 w 12192000"/>
              <a:gd name="connsiteY184" fmla="*/ 6414057 h 6858000"/>
              <a:gd name="connsiteX185" fmla="*/ 10259115 w 12192000"/>
              <a:gd name="connsiteY185" fmla="*/ 6435474 h 6858000"/>
              <a:gd name="connsiteX186" fmla="*/ 10259173 w 12192000"/>
              <a:gd name="connsiteY186" fmla="*/ 6435474 h 6858000"/>
              <a:gd name="connsiteX187" fmla="*/ 10519486 w 12192000"/>
              <a:gd name="connsiteY187" fmla="*/ 6435474 h 6858000"/>
              <a:gd name="connsiteX188" fmla="*/ 10540902 w 12192000"/>
              <a:gd name="connsiteY188" fmla="*/ 6414057 h 6858000"/>
              <a:gd name="connsiteX189" fmla="*/ 10540902 w 12192000"/>
              <a:gd name="connsiteY189" fmla="*/ 6150893 h 6858000"/>
              <a:gd name="connsiteX190" fmla="*/ 10519486 w 12192000"/>
              <a:gd name="connsiteY190" fmla="*/ 6129477 h 6858000"/>
              <a:gd name="connsiteX191" fmla="*/ 0 w 12192000"/>
              <a:gd name="connsiteY191" fmla="*/ 0 h 6858000"/>
              <a:gd name="connsiteX192" fmla="*/ 12192000 w 12192000"/>
              <a:gd name="connsiteY192" fmla="*/ 0 h 6858000"/>
              <a:gd name="connsiteX193" fmla="*/ 12192000 w 12192000"/>
              <a:gd name="connsiteY193" fmla="*/ 6858000 h 6858000"/>
              <a:gd name="connsiteX194" fmla="*/ 0 w 12192000"/>
              <a:gd name="connsiteY19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2192000" h="6858000">
                <a:moveTo>
                  <a:pt x="11197940" y="6340148"/>
                </a:moveTo>
                <a:lnTo>
                  <a:pt x="11209113" y="6376055"/>
                </a:lnTo>
                <a:lnTo>
                  <a:pt x="11186708" y="6376055"/>
                </a:lnTo>
                <a:close/>
                <a:moveTo>
                  <a:pt x="10758499" y="6332059"/>
                </a:moveTo>
                <a:cubicBezTo>
                  <a:pt x="10774328" y="6332059"/>
                  <a:pt x="10783698" y="6348237"/>
                  <a:pt x="10783465" y="6364008"/>
                </a:cubicBezTo>
                <a:cubicBezTo>
                  <a:pt x="10783232" y="6379779"/>
                  <a:pt x="10774095" y="6395260"/>
                  <a:pt x="10758499" y="6395202"/>
                </a:cubicBezTo>
                <a:cubicBezTo>
                  <a:pt x="10742902" y="6395143"/>
                  <a:pt x="10733881" y="6379547"/>
                  <a:pt x="10733707" y="6364008"/>
                </a:cubicBezTo>
                <a:cubicBezTo>
                  <a:pt x="10733532" y="6348470"/>
                  <a:pt x="10742727" y="6332175"/>
                  <a:pt x="10758499" y="6332059"/>
                </a:cubicBezTo>
                <a:close/>
                <a:moveTo>
                  <a:pt x="11352974" y="6291321"/>
                </a:moveTo>
                <a:cubicBezTo>
                  <a:pt x="11298329" y="6291321"/>
                  <a:pt x="11274351" y="6322514"/>
                  <a:pt x="11274351" y="6363834"/>
                </a:cubicBezTo>
                <a:cubicBezTo>
                  <a:pt x="11274235" y="6406259"/>
                  <a:pt x="11310608" y="6438907"/>
                  <a:pt x="11352916" y="6438558"/>
                </a:cubicBezTo>
                <a:cubicBezTo>
                  <a:pt x="11365836" y="6438890"/>
                  <a:pt x="11378639" y="6435543"/>
                  <a:pt x="11389755" y="6428897"/>
                </a:cubicBezTo>
                <a:lnTo>
                  <a:pt x="11389755" y="6389789"/>
                </a:lnTo>
                <a:cubicBezTo>
                  <a:pt x="11382539" y="6396697"/>
                  <a:pt x="11372645" y="6400119"/>
                  <a:pt x="11362693" y="6399159"/>
                </a:cubicBezTo>
                <a:cubicBezTo>
                  <a:pt x="11342848" y="6398170"/>
                  <a:pt x="11326146" y="6383737"/>
                  <a:pt x="11326146" y="6363834"/>
                </a:cubicBezTo>
                <a:cubicBezTo>
                  <a:pt x="11326146" y="6346084"/>
                  <a:pt x="11335865" y="6329614"/>
                  <a:pt x="11357339" y="6329614"/>
                </a:cubicBezTo>
                <a:lnTo>
                  <a:pt x="11404246" y="6329614"/>
                </a:lnTo>
                <a:lnTo>
                  <a:pt x="11404246" y="6435415"/>
                </a:lnTo>
                <a:lnTo>
                  <a:pt x="11456622" y="6435415"/>
                </a:lnTo>
                <a:lnTo>
                  <a:pt x="11456622" y="6329614"/>
                </a:lnTo>
                <a:lnTo>
                  <a:pt x="11492472" y="6329614"/>
                </a:lnTo>
                <a:lnTo>
                  <a:pt x="11492472" y="6291321"/>
                </a:lnTo>
                <a:close/>
                <a:moveTo>
                  <a:pt x="11170122" y="6291321"/>
                </a:moveTo>
                <a:lnTo>
                  <a:pt x="11110587" y="6435415"/>
                </a:lnTo>
                <a:lnTo>
                  <a:pt x="11164534" y="6435415"/>
                </a:lnTo>
                <a:lnTo>
                  <a:pt x="11174777" y="6409401"/>
                </a:lnTo>
                <a:lnTo>
                  <a:pt x="11221334" y="6409401"/>
                </a:lnTo>
                <a:lnTo>
                  <a:pt x="11231577" y="6435415"/>
                </a:lnTo>
                <a:lnTo>
                  <a:pt x="11284885" y="6435415"/>
                </a:lnTo>
                <a:lnTo>
                  <a:pt x="11225990" y="6291321"/>
                </a:lnTo>
                <a:lnTo>
                  <a:pt x="11225932" y="6291321"/>
                </a:lnTo>
                <a:close/>
                <a:moveTo>
                  <a:pt x="11013922" y="6291321"/>
                </a:moveTo>
                <a:lnTo>
                  <a:pt x="11013922" y="6329672"/>
                </a:lnTo>
                <a:lnTo>
                  <a:pt x="11050644" y="6329672"/>
                </a:lnTo>
                <a:lnTo>
                  <a:pt x="11050644" y="6435474"/>
                </a:lnTo>
                <a:lnTo>
                  <a:pt x="11102498" y="6435474"/>
                </a:lnTo>
                <a:lnTo>
                  <a:pt x="11102498" y="6329614"/>
                </a:lnTo>
                <a:lnTo>
                  <a:pt x="11137997" y="6329614"/>
                </a:lnTo>
                <a:lnTo>
                  <a:pt x="11137997" y="6291321"/>
                </a:lnTo>
                <a:lnTo>
                  <a:pt x="11137764" y="6291321"/>
                </a:lnTo>
                <a:close/>
                <a:moveTo>
                  <a:pt x="10850332" y="6291321"/>
                </a:moveTo>
                <a:lnTo>
                  <a:pt x="10850332" y="6435415"/>
                </a:lnTo>
                <a:lnTo>
                  <a:pt x="10902709" y="6435415"/>
                </a:lnTo>
                <a:lnTo>
                  <a:pt x="10902709" y="6374426"/>
                </a:lnTo>
                <a:lnTo>
                  <a:pt x="10963350" y="6435415"/>
                </a:lnTo>
                <a:lnTo>
                  <a:pt x="11007114" y="6435415"/>
                </a:lnTo>
                <a:lnTo>
                  <a:pt x="11007114" y="6291321"/>
                </a:lnTo>
                <a:lnTo>
                  <a:pt x="10953980" y="6291321"/>
                </a:lnTo>
                <a:lnTo>
                  <a:pt x="10953980" y="6353417"/>
                </a:lnTo>
                <a:lnTo>
                  <a:pt x="10891710" y="6291321"/>
                </a:lnTo>
                <a:close/>
                <a:moveTo>
                  <a:pt x="10628080" y="6288237"/>
                </a:moveTo>
                <a:cubicBezTo>
                  <a:pt x="10586063" y="6288167"/>
                  <a:pt x="10551727" y="6321868"/>
                  <a:pt x="10551087" y="6363892"/>
                </a:cubicBezTo>
                <a:cubicBezTo>
                  <a:pt x="10551087" y="6406957"/>
                  <a:pt x="10584084" y="6438616"/>
                  <a:pt x="10632562" y="6438616"/>
                </a:cubicBezTo>
                <a:cubicBezTo>
                  <a:pt x="10646063" y="6439425"/>
                  <a:pt x="10659565" y="6436591"/>
                  <a:pt x="10671611" y="6430411"/>
                </a:cubicBezTo>
                <a:lnTo>
                  <a:pt x="10671611" y="6388509"/>
                </a:lnTo>
                <a:cubicBezTo>
                  <a:pt x="10662358" y="6394777"/>
                  <a:pt x="10651417" y="6398140"/>
                  <a:pt x="10640243" y="6398170"/>
                </a:cubicBezTo>
                <a:cubicBezTo>
                  <a:pt x="10621213" y="6398176"/>
                  <a:pt x="10605675" y="6382928"/>
                  <a:pt x="10605325" y="6363892"/>
                </a:cubicBezTo>
                <a:cubicBezTo>
                  <a:pt x="10605209" y="6344414"/>
                  <a:pt x="10620922" y="6328549"/>
                  <a:pt x="10640418" y="6328450"/>
                </a:cubicBezTo>
                <a:cubicBezTo>
                  <a:pt x="10640476" y="6328450"/>
                  <a:pt x="10640535" y="6328450"/>
                  <a:pt x="10640593" y="6328450"/>
                </a:cubicBezTo>
                <a:cubicBezTo>
                  <a:pt x="10651417" y="6328270"/>
                  <a:pt x="10662009" y="6331802"/>
                  <a:pt x="10670563" y="6338460"/>
                </a:cubicBezTo>
                <a:cubicBezTo>
                  <a:pt x="10670563" y="6338460"/>
                  <a:pt x="10670563" y="6295162"/>
                  <a:pt x="10670563" y="6295686"/>
                </a:cubicBezTo>
                <a:lnTo>
                  <a:pt x="10670622" y="6295628"/>
                </a:lnTo>
                <a:cubicBezTo>
                  <a:pt x="10657237" y="6289889"/>
                  <a:pt x="10642630" y="6287358"/>
                  <a:pt x="10628080" y="6288237"/>
                </a:cubicBezTo>
                <a:close/>
                <a:moveTo>
                  <a:pt x="10758149" y="6288120"/>
                </a:moveTo>
                <a:cubicBezTo>
                  <a:pt x="10711592" y="6288120"/>
                  <a:pt x="10680748" y="6321467"/>
                  <a:pt x="10680981" y="6363775"/>
                </a:cubicBezTo>
                <a:cubicBezTo>
                  <a:pt x="10681214" y="6406084"/>
                  <a:pt x="10711650" y="6438500"/>
                  <a:pt x="10758149" y="6438441"/>
                </a:cubicBezTo>
                <a:cubicBezTo>
                  <a:pt x="10806103" y="6438441"/>
                  <a:pt x="10836191" y="6405968"/>
                  <a:pt x="10836423" y="6363775"/>
                </a:cubicBezTo>
                <a:cubicBezTo>
                  <a:pt x="10836423" y="6321350"/>
                  <a:pt x="10806103" y="6288120"/>
                  <a:pt x="10758149" y="6288120"/>
                </a:cubicBezTo>
                <a:close/>
                <a:moveTo>
                  <a:pt x="10385984" y="6239992"/>
                </a:moveTo>
                <a:cubicBezTo>
                  <a:pt x="10397506" y="6239963"/>
                  <a:pt x="10406818" y="6249263"/>
                  <a:pt x="10406876" y="6260768"/>
                </a:cubicBezTo>
                <a:cubicBezTo>
                  <a:pt x="10406876" y="6260809"/>
                  <a:pt x="10406876" y="6260844"/>
                  <a:pt x="10406876" y="6260884"/>
                </a:cubicBezTo>
                <a:cubicBezTo>
                  <a:pt x="10406818" y="6272343"/>
                  <a:pt x="10397565" y="6281631"/>
                  <a:pt x="10386100" y="6281660"/>
                </a:cubicBezTo>
                <a:cubicBezTo>
                  <a:pt x="10374577" y="6281695"/>
                  <a:pt x="10365265" y="6272390"/>
                  <a:pt x="10365207" y="6260884"/>
                </a:cubicBezTo>
                <a:cubicBezTo>
                  <a:pt x="10365149" y="6249379"/>
                  <a:pt x="10374461" y="6240027"/>
                  <a:pt x="10385984" y="6239992"/>
                </a:cubicBezTo>
                <a:close/>
                <a:moveTo>
                  <a:pt x="11408029" y="6234696"/>
                </a:moveTo>
                <a:lnTo>
                  <a:pt x="11408261" y="6234696"/>
                </a:lnTo>
                <a:lnTo>
                  <a:pt x="11408145" y="6234880"/>
                </a:lnTo>
                <a:close/>
                <a:moveTo>
                  <a:pt x="10938151" y="6171204"/>
                </a:moveTo>
                <a:cubicBezTo>
                  <a:pt x="10953631" y="6171204"/>
                  <a:pt x="10963000" y="6186742"/>
                  <a:pt x="10962826" y="6202222"/>
                </a:cubicBezTo>
                <a:cubicBezTo>
                  <a:pt x="10962651" y="6217703"/>
                  <a:pt x="10953457" y="6232426"/>
                  <a:pt x="10938209" y="6232368"/>
                </a:cubicBezTo>
                <a:cubicBezTo>
                  <a:pt x="10922962" y="6232310"/>
                  <a:pt x="10913999" y="6217295"/>
                  <a:pt x="10913825" y="6202222"/>
                </a:cubicBezTo>
                <a:cubicBezTo>
                  <a:pt x="10913650" y="6187149"/>
                  <a:pt x="10922787" y="6171320"/>
                  <a:pt x="10938151" y="6171204"/>
                </a:cubicBezTo>
                <a:close/>
                <a:moveTo>
                  <a:pt x="10288272" y="6164336"/>
                </a:moveTo>
                <a:lnTo>
                  <a:pt x="10358573" y="6164336"/>
                </a:lnTo>
                <a:cubicBezTo>
                  <a:pt x="10374286" y="6164336"/>
                  <a:pt x="10374286" y="6172251"/>
                  <a:pt x="10374286" y="6181039"/>
                </a:cubicBezTo>
                <a:lnTo>
                  <a:pt x="10374286" y="6208973"/>
                </a:lnTo>
                <a:cubicBezTo>
                  <a:pt x="10374286" y="6219681"/>
                  <a:pt x="10364917" y="6221718"/>
                  <a:pt x="10357351" y="6228585"/>
                </a:cubicBezTo>
                <a:cubicBezTo>
                  <a:pt x="10347573" y="6236384"/>
                  <a:pt x="10341987" y="6248267"/>
                  <a:pt x="10342162" y="6260768"/>
                </a:cubicBezTo>
                <a:cubicBezTo>
                  <a:pt x="10342860" y="6275777"/>
                  <a:pt x="10350716" y="6289552"/>
                  <a:pt x="10363229" y="6297839"/>
                </a:cubicBezTo>
                <a:cubicBezTo>
                  <a:pt x="10370096" y="6302210"/>
                  <a:pt x="10374228" y="6309792"/>
                  <a:pt x="10374170" y="6317917"/>
                </a:cubicBezTo>
                <a:lnTo>
                  <a:pt x="10374461" y="6317917"/>
                </a:lnTo>
                <a:lnTo>
                  <a:pt x="10374461" y="6385657"/>
                </a:lnTo>
                <a:cubicBezTo>
                  <a:pt x="10374344" y="6394439"/>
                  <a:pt x="10367244" y="6401516"/>
                  <a:pt x="10358457" y="6401545"/>
                </a:cubicBezTo>
                <a:lnTo>
                  <a:pt x="10289494" y="6401545"/>
                </a:lnTo>
                <a:cubicBezTo>
                  <a:pt x="10280474" y="6401359"/>
                  <a:pt x="10273082" y="6394352"/>
                  <a:pt x="10272442" y="6385366"/>
                </a:cubicBezTo>
                <a:lnTo>
                  <a:pt x="10272442" y="6180166"/>
                </a:lnTo>
                <a:cubicBezTo>
                  <a:pt x="10272501" y="6171448"/>
                  <a:pt x="10279542" y="6164401"/>
                  <a:pt x="10288272" y="6164336"/>
                </a:cubicBezTo>
                <a:close/>
                <a:moveTo>
                  <a:pt x="10412754" y="6164162"/>
                </a:moveTo>
                <a:cubicBezTo>
                  <a:pt x="10464316" y="6164162"/>
                  <a:pt x="10506973" y="6211708"/>
                  <a:pt x="10506973" y="6259778"/>
                </a:cubicBezTo>
                <a:cubicBezTo>
                  <a:pt x="10506973" y="6307849"/>
                  <a:pt x="10467167" y="6356967"/>
                  <a:pt x="10412521" y="6356967"/>
                </a:cubicBezTo>
                <a:cubicBezTo>
                  <a:pt x="10396168" y="6356967"/>
                  <a:pt x="10397157" y="6344105"/>
                  <a:pt x="10397157" y="6344105"/>
                </a:cubicBezTo>
                <a:lnTo>
                  <a:pt x="10396983" y="6344105"/>
                </a:lnTo>
                <a:lnTo>
                  <a:pt x="10396983" y="6317800"/>
                </a:lnTo>
                <a:cubicBezTo>
                  <a:pt x="10396808" y="6309670"/>
                  <a:pt x="10400998" y="6302070"/>
                  <a:pt x="10407924" y="6297839"/>
                </a:cubicBezTo>
                <a:cubicBezTo>
                  <a:pt x="10420785" y="6289854"/>
                  <a:pt x="10428700" y="6275940"/>
                  <a:pt x="10429048" y="6260826"/>
                </a:cubicBezTo>
                <a:cubicBezTo>
                  <a:pt x="10429048" y="6248389"/>
                  <a:pt x="10423578" y="6236587"/>
                  <a:pt x="10414034" y="6228585"/>
                </a:cubicBezTo>
                <a:cubicBezTo>
                  <a:pt x="10406876" y="6221893"/>
                  <a:pt x="10397099" y="6219274"/>
                  <a:pt x="10397099" y="6208915"/>
                </a:cubicBezTo>
                <a:lnTo>
                  <a:pt x="10397099" y="6180981"/>
                </a:lnTo>
                <a:cubicBezTo>
                  <a:pt x="10397099" y="6172077"/>
                  <a:pt x="10397099" y="6164162"/>
                  <a:pt x="10412754" y="6164162"/>
                </a:cubicBezTo>
                <a:close/>
                <a:moveTo>
                  <a:pt x="10611785" y="6163987"/>
                </a:moveTo>
                <a:lnTo>
                  <a:pt x="10619991" y="6163987"/>
                </a:lnTo>
                <a:cubicBezTo>
                  <a:pt x="10629128" y="6162905"/>
                  <a:pt x="10637392" y="6169423"/>
                  <a:pt x="10638498" y="6178548"/>
                </a:cubicBezTo>
                <a:cubicBezTo>
                  <a:pt x="10639545" y="6187679"/>
                  <a:pt x="10633027" y="6195960"/>
                  <a:pt x="10623949" y="6197043"/>
                </a:cubicBezTo>
                <a:cubicBezTo>
                  <a:pt x="10622610" y="6197200"/>
                  <a:pt x="10621271" y="6197200"/>
                  <a:pt x="10619991" y="6197043"/>
                </a:cubicBezTo>
                <a:lnTo>
                  <a:pt x="10611785" y="6197043"/>
                </a:lnTo>
                <a:close/>
                <a:moveTo>
                  <a:pt x="11408087" y="6163575"/>
                </a:moveTo>
                <a:lnTo>
                  <a:pt x="11408261" y="6163813"/>
                </a:lnTo>
                <a:lnTo>
                  <a:pt x="11407912" y="6163813"/>
                </a:lnTo>
                <a:close/>
                <a:moveTo>
                  <a:pt x="11323586" y="6129535"/>
                </a:moveTo>
                <a:lnTo>
                  <a:pt x="11377417" y="6199778"/>
                </a:lnTo>
                <a:cubicBezTo>
                  <a:pt x="11358678" y="6224570"/>
                  <a:pt x="11323236" y="6273513"/>
                  <a:pt x="11323236" y="6273513"/>
                </a:cubicBezTo>
                <a:lnTo>
                  <a:pt x="11383760" y="6273513"/>
                </a:lnTo>
                <a:lnTo>
                  <a:pt x="11408145" y="6234880"/>
                </a:lnTo>
                <a:lnTo>
                  <a:pt x="11432529" y="6273513"/>
                </a:lnTo>
                <a:lnTo>
                  <a:pt x="11492937" y="6273513"/>
                </a:lnTo>
                <a:cubicBezTo>
                  <a:pt x="11492937" y="6273513"/>
                  <a:pt x="11457496" y="6224570"/>
                  <a:pt x="11438756" y="6199778"/>
                </a:cubicBezTo>
                <a:lnTo>
                  <a:pt x="11492646" y="6129535"/>
                </a:lnTo>
                <a:lnTo>
                  <a:pt x="11433111" y="6129535"/>
                </a:lnTo>
                <a:lnTo>
                  <a:pt x="11408087" y="6163575"/>
                </a:lnTo>
                <a:lnTo>
                  <a:pt x="11383237" y="6129535"/>
                </a:lnTo>
                <a:close/>
                <a:moveTo>
                  <a:pt x="11260733" y="6129535"/>
                </a:moveTo>
                <a:lnTo>
                  <a:pt x="11260733" y="6273513"/>
                </a:lnTo>
                <a:lnTo>
                  <a:pt x="11316893" y="6273513"/>
                </a:lnTo>
                <a:lnTo>
                  <a:pt x="11316893" y="6129535"/>
                </a:lnTo>
                <a:close/>
                <a:moveTo>
                  <a:pt x="11084806" y="6129477"/>
                </a:moveTo>
                <a:lnTo>
                  <a:pt x="11084806" y="6273513"/>
                </a:lnTo>
                <a:lnTo>
                  <a:pt x="11137182" y="6273513"/>
                </a:lnTo>
                <a:lnTo>
                  <a:pt x="11137182" y="6212581"/>
                </a:lnTo>
                <a:lnTo>
                  <a:pt x="11199103" y="6273513"/>
                </a:lnTo>
                <a:lnTo>
                  <a:pt x="11243099" y="6273513"/>
                </a:lnTo>
                <a:lnTo>
                  <a:pt x="11243099" y="6129535"/>
                </a:lnTo>
                <a:lnTo>
                  <a:pt x="11190723" y="6129535"/>
                </a:lnTo>
                <a:lnTo>
                  <a:pt x="11190723" y="6190583"/>
                </a:lnTo>
                <a:lnTo>
                  <a:pt x="11126300" y="6129477"/>
                </a:lnTo>
                <a:close/>
                <a:moveTo>
                  <a:pt x="10938325" y="6129477"/>
                </a:moveTo>
                <a:cubicBezTo>
                  <a:pt x="10912719" y="6129477"/>
                  <a:pt x="10897588" y="6134307"/>
                  <a:pt x="10882923" y="6148274"/>
                </a:cubicBezTo>
                <a:cubicBezTo>
                  <a:pt x="10868257" y="6162241"/>
                  <a:pt x="10862728" y="6179642"/>
                  <a:pt x="10862728" y="6201989"/>
                </a:cubicBezTo>
                <a:cubicBezTo>
                  <a:pt x="10862670" y="6220909"/>
                  <a:pt x="10869886" y="6239119"/>
                  <a:pt x="10882923" y="6252853"/>
                </a:cubicBezTo>
                <a:cubicBezTo>
                  <a:pt x="10897879" y="6266896"/>
                  <a:pt x="10917898" y="6274333"/>
                  <a:pt x="10938383" y="6273513"/>
                </a:cubicBezTo>
                <a:lnTo>
                  <a:pt x="11069383" y="6273513"/>
                </a:lnTo>
                <a:lnTo>
                  <a:pt x="11069383" y="6238595"/>
                </a:lnTo>
                <a:lnTo>
                  <a:pt x="11010430" y="6238595"/>
                </a:lnTo>
                <a:lnTo>
                  <a:pt x="11010430" y="6218459"/>
                </a:lnTo>
                <a:lnTo>
                  <a:pt x="11068627" y="6218459"/>
                </a:lnTo>
                <a:lnTo>
                  <a:pt x="11068627" y="6184181"/>
                </a:lnTo>
                <a:lnTo>
                  <a:pt x="11010430" y="6184181"/>
                </a:lnTo>
                <a:lnTo>
                  <a:pt x="11010430" y="6164278"/>
                </a:lnTo>
                <a:lnTo>
                  <a:pt x="11069383" y="6164278"/>
                </a:lnTo>
                <a:lnTo>
                  <a:pt x="11069383" y="6129651"/>
                </a:lnTo>
                <a:lnTo>
                  <a:pt x="11069383" y="6129477"/>
                </a:lnTo>
                <a:close/>
                <a:moveTo>
                  <a:pt x="10751340" y="6129477"/>
                </a:moveTo>
                <a:lnTo>
                  <a:pt x="10751340" y="6129535"/>
                </a:lnTo>
                <a:lnTo>
                  <a:pt x="10699021" y="6129535"/>
                </a:lnTo>
                <a:lnTo>
                  <a:pt x="10699021" y="6273571"/>
                </a:lnTo>
                <a:lnTo>
                  <a:pt x="10751398" y="6273571"/>
                </a:lnTo>
                <a:lnTo>
                  <a:pt x="10751398" y="6221194"/>
                </a:lnTo>
                <a:lnTo>
                  <a:pt x="10796268" y="6221194"/>
                </a:lnTo>
                <a:lnTo>
                  <a:pt x="10796268" y="6273571"/>
                </a:lnTo>
                <a:lnTo>
                  <a:pt x="10848645" y="6273571"/>
                </a:lnTo>
                <a:lnTo>
                  <a:pt x="10848645" y="6129477"/>
                </a:lnTo>
                <a:lnTo>
                  <a:pt x="10796268" y="6129477"/>
                </a:lnTo>
                <a:lnTo>
                  <a:pt x="10796268" y="6178653"/>
                </a:lnTo>
                <a:lnTo>
                  <a:pt x="10751340" y="6178653"/>
                </a:lnTo>
                <a:lnTo>
                  <a:pt x="10751340" y="6129535"/>
                </a:lnTo>
                <a:lnTo>
                  <a:pt x="10751398" y="6129535"/>
                </a:lnTo>
                <a:close/>
                <a:moveTo>
                  <a:pt x="10559176" y="6129477"/>
                </a:moveTo>
                <a:lnTo>
                  <a:pt x="10559176" y="6273513"/>
                </a:lnTo>
                <a:lnTo>
                  <a:pt x="10611553" y="6273513"/>
                </a:lnTo>
                <a:lnTo>
                  <a:pt x="10611553" y="6231961"/>
                </a:lnTo>
                <a:lnTo>
                  <a:pt x="10630990" y="6231961"/>
                </a:lnTo>
                <a:cubicBezTo>
                  <a:pt x="10660729" y="6231961"/>
                  <a:pt x="10690932" y="6211126"/>
                  <a:pt x="10690758" y="6180340"/>
                </a:cubicBezTo>
                <a:cubicBezTo>
                  <a:pt x="10690583" y="6149554"/>
                  <a:pt x="10670098" y="6129477"/>
                  <a:pt x="10630990" y="6129477"/>
                </a:cubicBezTo>
                <a:close/>
                <a:moveTo>
                  <a:pt x="10259173" y="6129477"/>
                </a:moveTo>
                <a:cubicBezTo>
                  <a:pt x="10247359" y="6129477"/>
                  <a:pt x="10237757" y="6139056"/>
                  <a:pt x="10237699" y="6150893"/>
                </a:cubicBezTo>
                <a:lnTo>
                  <a:pt x="10237699" y="6414057"/>
                </a:lnTo>
                <a:cubicBezTo>
                  <a:pt x="10237699" y="6425883"/>
                  <a:pt x="10247301" y="6435474"/>
                  <a:pt x="10259115" y="6435474"/>
                </a:cubicBezTo>
                <a:cubicBezTo>
                  <a:pt x="10259115" y="6435474"/>
                  <a:pt x="10259173" y="6435474"/>
                  <a:pt x="10259173" y="6435474"/>
                </a:cubicBezTo>
                <a:lnTo>
                  <a:pt x="10519486" y="6435474"/>
                </a:lnTo>
                <a:cubicBezTo>
                  <a:pt x="10531300" y="6435474"/>
                  <a:pt x="10540902" y="6425883"/>
                  <a:pt x="10540902" y="6414057"/>
                </a:cubicBezTo>
                <a:lnTo>
                  <a:pt x="10540902" y="6150893"/>
                </a:lnTo>
                <a:cubicBezTo>
                  <a:pt x="10540902" y="6139067"/>
                  <a:pt x="10531300" y="6129477"/>
                  <a:pt x="10519486" y="6129477"/>
                </a:cubicBezTo>
                <a:close/>
                <a:moveTo>
                  <a:pt x="0" y="0"/>
                </a:moveTo>
                <a:lnTo>
                  <a:pt x="12192000" y="0"/>
                </a:lnTo>
                <a:lnTo>
                  <a:pt x="12192000" y="6858000"/>
                </a:lnTo>
                <a:lnTo>
                  <a:pt x="0" y="6858000"/>
                </a:lnTo>
                <a:close/>
              </a:path>
            </a:pathLst>
          </a:custGeom>
          <a:solidFill>
            <a:schemeClr val="accent5">
              <a:lumMod val="75000"/>
            </a:schemeClr>
          </a:solidFill>
        </p:spPr>
        <p:txBody>
          <a:bodyPr wrap="square" bIns="720000" anchor="ctr" anchorCtr="0">
            <a:noAutofit/>
          </a:bodyPr>
          <a:lstStyle>
            <a:lvl1pPr marL="0" indent="0" algn="ctr">
              <a:buNone/>
              <a:defRPr>
                <a:solidFill>
                  <a:schemeClr val="bg2"/>
                </a:solidFill>
              </a:defRPr>
            </a:lvl1pPr>
          </a:lstStyle>
          <a:p>
            <a:r>
              <a:rPr lang="de-DE" dirty="0"/>
              <a:t>Picture</a:t>
            </a:r>
          </a:p>
        </p:txBody>
      </p:sp>
    </p:spTree>
    <p:extLst>
      <p:ext uri="{BB962C8B-B14F-4D97-AF65-F5344CB8AC3E}">
        <p14:creationId xmlns:p14="http://schemas.microsoft.com/office/powerpoint/2010/main" val="124418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intro black">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A734146-98CD-4A41-90F8-02C1DCD9307F}"/>
              </a:ext>
            </a:extLst>
          </p:cNvPr>
          <p:cNvSpPr/>
          <p:nvPr userDrawn="1"/>
        </p:nvSpPr>
        <p:spPr>
          <a:xfrm>
            <a:off x="0" y="0"/>
            <a:ext cx="12192000" cy="6858000"/>
          </a:xfrm>
          <a:prstGeom prst="rect">
            <a:avLst/>
          </a:prstGeom>
          <a:solidFill>
            <a:schemeClr val="accent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800" dirty="0"/>
          </a:p>
        </p:txBody>
      </p:sp>
      <p:sp>
        <p:nvSpPr>
          <p:cNvPr id="3" name="Textplatzhalter 2">
            <a:extLst>
              <a:ext uri="{FF2B5EF4-FFF2-40B4-BE49-F238E27FC236}">
                <a16:creationId xmlns:a16="http://schemas.microsoft.com/office/drawing/2014/main" id="{9118C7AC-8791-45F6-B68C-395123E2225C}"/>
              </a:ext>
            </a:extLst>
          </p:cNvPr>
          <p:cNvSpPr>
            <a:spLocks noGrp="1"/>
          </p:cNvSpPr>
          <p:nvPr>
            <p:ph type="body" sz="quarter" idx="14" hasCustomPrompt="1"/>
          </p:nvPr>
        </p:nvSpPr>
        <p:spPr>
          <a:xfrm>
            <a:off x="558903" y="1145949"/>
            <a:ext cx="11059292" cy="3453720"/>
          </a:xfrm>
        </p:spPr>
        <p:txBody>
          <a:bodyPr/>
          <a:lstStyle>
            <a:lvl1pPr marL="0" indent="0">
              <a:buNone/>
              <a:defRPr sz="8000" b="1">
                <a:solidFill>
                  <a:schemeClr val="bg1"/>
                </a:solidFill>
              </a:defRPr>
            </a:lvl1pPr>
          </a:lstStyle>
          <a:p>
            <a:pPr lvl="0"/>
            <a:r>
              <a:rPr lang="de-DE" dirty="0"/>
              <a:t>Chapter </a:t>
            </a:r>
            <a:br>
              <a:rPr lang="de-DE" dirty="0"/>
            </a:br>
            <a:r>
              <a:rPr lang="de-DE" dirty="0" err="1"/>
              <a:t>separator</a:t>
            </a:r>
            <a:r>
              <a:rPr lang="de-DE" dirty="0"/>
              <a:t> </a:t>
            </a:r>
            <a:br>
              <a:rPr lang="de-DE" dirty="0"/>
            </a:br>
            <a:endParaRPr lang="de-DE" dirty="0"/>
          </a:p>
        </p:txBody>
      </p:sp>
      <p:sp>
        <p:nvSpPr>
          <p:cNvPr id="6" name="Freihandform: Form 5">
            <a:extLst>
              <a:ext uri="{FF2B5EF4-FFF2-40B4-BE49-F238E27FC236}">
                <a16:creationId xmlns:a16="http://schemas.microsoft.com/office/drawing/2014/main" id="{1DB3DA2B-09B3-424C-80C3-E8F14F4479A1}"/>
              </a:ext>
            </a:extLst>
          </p:cNvPr>
          <p:cNvSpPr/>
          <p:nvPr userDrawn="1"/>
        </p:nvSpPr>
        <p:spPr>
          <a:xfrm>
            <a:off x="10238618" y="6129944"/>
            <a:ext cx="1255237" cy="309274"/>
          </a:xfrm>
          <a:custGeom>
            <a:avLst/>
            <a:gdLst>
              <a:gd name="connsiteX0" fmla="*/ 1253854 w 1255237"/>
              <a:gd name="connsiteY0" fmla="*/ 161377 h 309274"/>
              <a:gd name="connsiteX1" fmla="*/ 1253854 w 1255237"/>
              <a:gd name="connsiteY1" fmla="*/ 199670 h 309274"/>
              <a:gd name="connsiteX2" fmla="*/ 1218004 w 1255237"/>
              <a:gd name="connsiteY2" fmla="*/ 199670 h 309274"/>
              <a:gd name="connsiteX3" fmla="*/ 1218004 w 1255237"/>
              <a:gd name="connsiteY3" fmla="*/ 305471 h 309274"/>
              <a:gd name="connsiteX4" fmla="*/ 1165628 w 1255237"/>
              <a:gd name="connsiteY4" fmla="*/ 305471 h 309274"/>
              <a:gd name="connsiteX5" fmla="*/ 1165628 w 1255237"/>
              <a:gd name="connsiteY5" fmla="*/ 199670 h 309274"/>
              <a:gd name="connsiteX6" fmla="*/ 1118721 w 1255237"/>
              <a:gd name="connsiteY6" fmla="*/ 199670 h 309274"/>
              <a:gd name="connsiteX7" fmla="*/ 1087528 w 1255237"/>
              <a:gd name="connsiteY7" fmla="*/ 233890 h 309274"/>
              <a:gd name="connsiteX8" fmla="*/ 1124075 w 1255237"/>
              <a:gd name="connsiteY8" fmla="*/ 269215 h 309274"/>
              <a:gd name="connsiteX9" fmla="*/ 1151137 w 1255237"/>
              <a:gd name="connsiteY9" fmla="*/ 259845 h 309274"/>
              <a:gd name="connsiteX10" fmla="*/ 1151137 w 1255237"/>
              <a:gd name="connsiteY10" fmla="*/ 298953 h 309274"/>
              <a:gd name="connsiteX11" fmla="*/ 1114298 w 1255237"/>
              <a:gd name="connsiteY11" fmla="*/ 308614 h 309274"/>
              <a:gd name="connsiteX12" fmla="*/ 1035733 w 1255237"/>
              <a:gd name="connsiteY12" fmla="*/ 233890 h 309274"/>
              <a:gd name="connsiteX13" fmla="*/ 1114356 w 1255237"/>
              <a:gd name="connsiteY13" fmla="*/ 161377 h 309274"/>
              <a:gd name="connsiteX14" fmla="*/ 768554 w 1255237"/>
              <a:gd name="connsiteY14" fmla="*/ 161377 h 309274"/>
              <a:gd name="connsiteX15" fmla="*/ 715362 w 1255237"/>
              <a:gd name="connsiteY15" fmla="*/ 161377 h 309274"/>
              <a:gd name="connsiteX16" fmla="*/ 715362 w 1255237"/>
              <a:gd name="connsiteY16" fmla="*/ 223473 h 309274"/>
              <a:gd name="connsiteX17" fmla="*/ 653092 w 1255237"/>
              <a:gd name="connsiteY17" fmla="*/ 161377 h 309274"/>
              <a:gd name="connsiteX18" fmla="*/ 611714 w 1255237"/>
              <a:gd name="connsiteY18" fmla="*/ 161377 h 309274"/>
              <a:gd name="connsiteX19" fmla="*/ 611714 w 1255237"/>
              <a:gd name="connsiteY19" fmla="*/ 305471 h 309274"/>
              <a:gd name="connsiteX20" fmla="*/ 664091 w 1255237"/>
              <a:gd name="connsiteY20" fmla="*/ 305471 h 309274"/>
              <a:gd name="connsiteX21" fmla="*/ 664091 w 1255237"/>
              <a:gd name="connsiteY21" fmla="*/ 244482 h 309274"/>
              <a:gd name="connsiteX22" fmla="*/ 724732 w 1255237"/>
              <a:gd name="connsiteY22" fmla="*/ 305471 h 309274"/>
              <a:gd name="connsiteX23" fmla="*/ 768496 w 1255237"/>
              <a:gd name="connsiteY23" fmla="*/ 305471 h 309274"/>
              <a:gd name="connsiteX24" fmla="*/ 768496 w 1255237"/>
              <a:gd name="connsiteY24" fmla="*/ 161377 h 309274"/>
              <a:gd name="connsiteX25" fmla="*/ 432004 w 1255237"/>
              <a:gd name="connsiteY25" fmla="*/ 165684 h 309274"/>
              <a:gd name="connsiteX26" fmla="*/ 389462 w 1255237"/>
              <a:gd name="connsiteY26" fmla="*/ 158293 h 309274"/>
              <a:gd name="connsiteX27" fmla="*/ 312469 w 1255237"/>
              <a:gd name="connsiteY27" fmla="*/ 233948 h 309274"/>
              <a:gd name="connsiteX28" fmla="*/ 393944 w 1255237"/>
              <a:gd name="connsiteY28" fmla="*/ 308672 h 309274"/>
              <a:gd name="connsiteX29" fmla="*/ 432993 w 1255237"/>
              <a:gd name="connsiteY29" fmla="*/ 300467 h 309274"/>
              <a:gd name="connsiteX30" fmla="*/ 432993 w 1255237"/>
              <a:gd name="connsiteY30" fmla="*/ 258565 h 309274"/>
              <a:gd name="connsiteX31" fmla="*/ 401625 w 1255237"/>
              <a:gd name="connsiteY31" fmla="*/ 268226 h 309274"/>
              <a:gd name="connsiteX32" fmla="*/ 366707 w 1255237"/>
              <a:gd name="connsiteY32" fmla="*/ 233948 h 309274"/>
              <a:gd name="connsiteX33" fmla="*/ 401800 w 1255237"/>
              <a:gd name="connsiteY33" fmla="*/ 198506 h 309274"/>
              <a:gd name="connsiteX34" fmla="*/ 401975 w 1255237"/>
              <a:gd name="connsiteY34" fmla="*/ 198506 h 309274"/>
              <a:gd name="connsiteX35" fmla="*/ 431945 w 1255237"/>
              <a:gd name="connsiteY35" fmla="*/ 208516 h 309274"/>
              <a:gd name="connsiteX36" fmla="*/ 431945 w 1255237"/>
              <a:gd name="connsiteY36" fmla="*/ 165742 h 309274"/>
              <a:gd name="connsiteX37" fmla="*/ 899146 w 1255237"/>
              <a:gd name="connsiteY37" fmla="*/ 161377 h 309274"/>
              <a:gd name="connsiteX38" fmla="*/ 775304 w 1255237"/>
              <a:gd name="connsiteY38" fmla="*/ 161377 h 309274"/>
              <a:gd name="connsiteX39" fmla="*/ 775304 w 1255237"/>
              <a:gd name="connsiteY39" fmla="*/ 199728 h 309274"/>
              <a:gd name="connsiteX40" fmla="*/ 812026 w 1255237"/>
              <a:gd name="connsiteY40" fmla="*/ 199728 h 309274"/>
              <a:gd name="connsiteX41" fmla="*/ 812026 w 1255237"/>
              <a:gd name="connsiteY41" fmla="*/ 305530 h 309274"/>
              <a:gd name="connsiteX42" fmla="*/ 863880 w 1255237"/>
              <a:gd name="connsiteY42" fmla="*/ 305530 h 309274"/>
              <a:gd name="connsiteX43" fmla="*/ 863880 w 1255237"/>
              <a:gd name="connsiteY43" fmla="*/ 199670 h 309274"/>
              <a:gd name="connsiteX44" fmla="*/ 899379 w 1255237"/>
              <a:gd name="connsiteY44" fmla="*/ 199670 h 309274"/>
              <a:gd name="connsiteX45" fmla="*/ 899379 w 1255237"/>
              <a:gd name="connsiteY45" fmla="*/ 161377 h 309274"/>
              <a:gd name="connsiteX46" fmla="*/ 1169411 w 1255237"/>
              <a:gd name="connsiteY46" fmla="*/ 104752 h 309274"/>
              <a:gd name="connsiteX47" fmla="*/ 1193911 w 1255237"/>
              <a:gd name="connsiteY47" fmla="*/ 143569 h 309274"/>
              <a:gd name="connsiteX48" fmla="*/ 1254319 w 1255237"/>
              <a:gd name="connsiteY48" fmla="*/ 143569 h 309274"/>
              <a:gd name="connsiteX49" fmla="*/ 1200138 w 1255237"/>
              <a:gd name="connsiteY49" fmla="*/ 69834 h 309274"/>
              <a:gd name="connsiteX50" fmla="*/ 1254028 w 1255237"/>
              <a:gd name="connsiteY50" fmla="*/ -409 h 309274"/>
              <a:gd name="connsiteX51" fmla="*/ 1194493 w 1255237"/>
              <a:gd name="connsiteY51" fmla="*/ -409 h 309274"/>
              <a:gd name="connsiteX52" fmla="*/ 1169294 w 1255237"/>
              <a:gd name="connsiteY52" fmla="*/ 33869 h 309274"/>
              <a:gd name="connsiteX53" fmla="*/ 1169643 w 1255237"/>
              <a:gd name="connsiteY53" fmla="*/ 33869 h 309274"/>
              <a:gd name="connsiteX54" fmla="*/ 1144619 w 1255237"/>
              <a:gd name="connsiteY54" fmla="*/ -409 h 309274"/>
              <a:gd name="connsiteX55" fmla="*/ 1084968 w 1255237"/>
              <a:gd name="connsiteY55" fmla="*/ -409 h 309274"/>
              <a:gd name="connsiteX56" fmla="*/ 1138799 w 1255237"/>
              <a:gd name="connsiteY56" fmla="*/ 69834 h 309274"/>
              <a:gd name="connsiteX57" fmla="*/ 1084618 w 1255237"/>
              <a:gd name="connsiteY57" fmla="*/ 143569 h 309274"/>
              <a:gd name="connsiteX58" fmla="*/ 1145142 w 1255237"/>
              <a:gd name="connsiteY58" fmla="*/ 143569 h 309274"/>
              <a:gd name="connsiteX59" fmla="*/ 1169643 w 1255237"/>
              <a:gd name="connsiteY59" fmla="*/ 104752 h 309274"/>
              <a:gd name="connsiteX60" fmla="*/ 1022115 w 1255237"/>
              <a:gd name="connsiteY60" fmla="*/ -409 h 309274"/>
              <a:gd name="connsiteX61" fmla="*/ 1022115 w 1255237"/>
              <a:gd name="connsiteY61" fmla="*/ 143569 h 309274"/>
              <a:gd name="connsiteX62" fmla="*/ 1078275 w 1255237"/>
              <a:gd name="connsiteY62" fmla="*/ 143569 h 309274"/>
              <a:gd name="connsiteX63" fmla="*/ 1078275 w 1255237"/>
              <a:gd name="connsiteY63" fmla="*/ -409 h 309274"/>
              <a:gd name="connsiteX64" fmla="*/ 512780 w 1255237"/>
              <a:gd name="connsiteY64" fmla="*/ -409 h 309274"/>
              <a:gd name="connsiteX65" fmla="*/ 460403 w 1255237"/>
              <a:gd name="connsiteY65" fmla="*/ -409 h 309274"/>
              <a:gd name="connsiteX66" fmla="*/ 460403 w 1255237"/>
              <a:gd name="connsiteY66" fmla="*/ 143627 h 309274"/>
              <a:gd name="connsiteX67" fmla="*/ 512780 w 1255237"/>
              <a:gd name="connsiteY67" fmla="*/ 143627 h 309274"/>
              <a:gd name="connsiteX68" fmla="*/ 512780 w 1255237"/>
              <a:gd name="connsiteY68" fmla="*/ 91250 h 309274"/>
              <a:gd name="connsiteX69" fmla="*/ 557650 w 1255237"/>
              <a:gd name="connsiteY69" fmla="*/ 91250 h 309274"/>
              <a:gd name="connsiteX70" fmla="*/ 557650 w 1255237"/>
              <a:gd name="connsiteY70" fmla="*/ 143627 h 309274"/>
              <a:gd name="connsiteX71" fmla="*/ 610027 w 1255237"/>
              <a:gd name="connsiteY71" fmla="*/ 143627 h 309274"/>
              <a:gd name="connsiteX72" fmla="*/ 610027 w 1255237"/>
              <a:gd name="connsiteY72" fmla="*/ -467 h 309274"/>
              <a:gd name="connsiteX73" fmla="*/ 557650 w 1255237"/>
              <a:gd name="connsiteY73" fmla="*/ -467 h 309274"/>
              <a:gd name="connsiteX74" fmla="*/ 557650 w 1255237"/>
              <a:gd name="connsiteY74" fmla="*/ 48709 h 309274"/>
              <a:gd name="connsiteX75" fmla="*/ 512722 w 1255237"/>
              <a:gd name="connsiteY75" fmla="*/ 48709 h 309274"/>
              <a:gd name="connsiteX76" fmla="*/ 512722 w 1255237"/>
              <a:gd name="connsiteY76" fmla="*/ -467 h 309274"/>
              <a:gd name="connsiteX77" fmla="*/ 1004481 w 1255237"/>
              <a:gd name="connsiteY77" fmla="*/ -409 h 309274"/>
              <a:gd name="connsiteX78" fmla="*/ 952105 w 1255237"/>
              <a:gd name="connsiteY78" fmla="*/ -409 h 309274"/>
              <a:gd name="connsiteX79" fmla="*/ 952105 w 1255237"/>
              <a:gd name="connsiteY79" fmla="*/ 60639 h 309274"/>
              <a:gd name="connsiteX80" fmla="*/ 887682 w 1255237"/>
              <a:gd name="connsiteY80" fmla="*/ -467 h 309274"/>
              <a:gd name="connsiteX81" fmla="*/ 846188 w 1255237"/>
              <a:gd name="connsiteY81" fmla="*/ -467 h 309274"/>
              <a:gd name="connsiteX82" fmla="*/ 846188 w 1255237"/>
              <a:gd name="connsiteY82" fmla="*/ 143569 h 309274"/>
              <a:gd name="connsiteX83" fmla="*/ 898564 w 1255237"/>
              <a:gd name="connsiteY83" fmla="*/ 143569 h 309274"/>
              <a:gd name="connsiteX84" fmla="*/ 898564 w 1255237"/>
              <a:gd name="connsiteY84" fmla="*/ 82637 h 309274"/>
              <a:gd name="connsiteX85" fmla="*/ 960485 w 1255237"/>
              <a:gd name="connsiteY85" fmla="*/ 143569 h 309274"/>
              <a:gd name="connsiteX86" fmla="*/ 1004481 w 1255237"/>
              <a:gd name="connsiteY86" fmla="*/ 143569 h 309274"/>
              <a:gd name="connsiteX87" fmla="*/ 1004481 w 1255237"/>
              <a:gd name="connsiteY87" fmla="*/ -467 h 309274"/>
              <a:gd name="connsiteX88" fmla="*/ 158365 w 1255237"/>
              <a:gd name="connsiteY88" fmla="*/ 214161 h 309274"/>
              <a:gd name="connsiteX89" fmla="*/ 158365 w 1255237"/>
              <a:gd name="connsiteY89" fmla="*/ 187856 h 309274"/>
              <a:gd name="connsiteX90" fmla="*/ 169306 w 1255237"/>
              <a:gd name="connsiteY90" fmla="*/ 167895 h 309274"/>
              <a:gd name="connsiteX91" fmla="*/ 190430 w 1255237"/>
              <a:gd name="connsiteY91" fmla="*/ 130882 h 309274"/>
              <a:gd name="connsiteX92" fmla="*/ 175416 w 1255237"/>
              <a:gd name="connsiteY92" fmla="*/ 98641 h 309274"/>
              <a:gd name="connsiteX93" fmla="*/ 158481 w 1255237"/>
              <a:gd name="connsiteY93" fmla="*/ 78971 h 309274"/>
              <a:gd name="connsiteX94" fmla="*/ 158481 w 1255237"/>
              <a:gd name="connsiteY94" fmla="*/ 51037 h 309274"/>
              <a:gd name="connsiteX95" fmla="*/ 174136 w 1255237"/>
              <a:gd name="connsiteY95" fmla="*/ 34218 h 309274"/>
              <a:gd name="connsiteX96" fmla="*/ 268355 w 1255237"/>
              <a:gd name="connsiteY96" fmla="*/ 129834 h 309274"/>
              <a:gd name="connsiteX97" fmla="*/ 173903 w 1255237"/>
              <a:gd name="connsiteY97" fmla="*/ 227023 h 309274"/>
              <a:gd name="connsiteX98" fmla="*/ 158539 w 1255237"/>
              <a:gd name="connsiteY98" fmla="*/ 214161 h 309274"/>
              <a:gd name="connsiteX99" fmla="*/ 135843 w 1255237"/>
              <a:gd name="connsiteY99" fmla="*/ 187973 h 309274"/>
              <a:gd name="connsiteX100" fmla="*/ 135843 w 1255237"/>
              <a:gd name="connsiteY100" fmla="*/ 255713 h 309274"/>
              <a:gd name="connsiteX101" fmla="*/ 119839 w 1255237"/>
              <a:gd name="connsiteY101" fmla="*/ 271601 h 309274"/>
              <a:gd name="connsiteX102" fmla="*/ 50876 w 1255237"/>
              <a:gd name="connsiteY102" fmla="*/ 271601 h 309274"/>
              <a:gd name="connsiteX103" fmla="*/ 33824 w 1255237"/>
              <a:gd name="connsiteY103" fmla="*/ 255422 h 309274"/>
              <a:gd name="connsiteX104" fmla="*/ 33824 w 1255237"/>
              <a:gd name="connsiteY104" fmla="*/ 50222 h 309274"/>
              <a:gd name="connsiteX105" fmla="*/ 49654 w 1255237"/>
              <a:gd name="connsiteY105" fmla="*/ 34392 h 309274"/>
              <a:gd name="connsiteX106" fmla="*/ 119955 w 1255237"/>
              <a:gd name="connsiteY106" fmla="*/ 34392 h 309274"/>
              <a:gd name="connsiteX107" fmla="*/ 135668 w 1255237"/>
              <a:gd name="connsiteY107" fmla="*/ 51095 h 309274"/>
              <a:gd name="connsiteX108" fmla="*/ 135668 w 1255237"/>
              <a:gd name="connsiteY108" fmla="*/ 79029 h 309274"/>
              <a:gd name="connsiteX109" fmla="*/ 118733 w 1255237"/>
              <a:gd name="connsiteY109" fmla="*/ 98641 h 309274"/>
              <a:gd name="connsiteX110" fmla="*/ 103544 w 1255237"/>
              <a:gd name="connsiteY110" fmla="*/ 130824 h 309274"/>
              <a:gd name="connsiteX111" fmla="*/ 124611 w 1255237"/>
              <a:gd name="connsiteY111" fmla="*/ 167895 h 309274"/>
              <a:gd name="connsiteX112" fmla="*/ 135552 w 1255237"/>
              <a:gd name="connsiteY112" fmla="*/ 187973 h 309274"/>
              <a:gd name="connsiteX113" fmla="*/ 147482 w 1255237"/>
              <a:gd name="connsiteY113" fmla="*/ 151716 h 309274"/>
              <a:gd name="connsiteX114" fmla="*/ 126589 w 1255237"/>
              <a:gd name="connsiteY114" fmla="*/ 130940 h 309274"/>
              <a:gd name="connsiteX115" fmla="*/ 147366 w 1255237"/>
              <a:gd name="connsiteY115" fmla="*/ 110048 h 309274"/>
              <a:gd name="connsiteX116" fmla="*/ 168258 w 1255237"/>
              <a:gd name="connsiteY116" fmla="*/ 130824 h 309274"/>
              <a:gd name="connsiteX117" fmla="*/ 168258 w 1255237"/>
              <a:gd name="connsiteY117" fmla="*/ 130940 h 309274"/>
              <a:gd name="connsiteX118" fmla="*/ 147482 w 1255237"/>
              <a:gd name="connsiteY118" fmla="*/ 151716 h 309274"/>
              <a:gd name="connsiteX119" fmla="*/ 20555 w 1255237"/>
              <a:gd name="connsiteY119" fmla="*/ -467 h 309274"/>
              <a:gd name="connsiteX120" fmla="*/ -919 w 1255237"/>
              <a:gd name="connsiteY120" fmla="*/ 20949 h 309274"/>
              <a:gd name="connsiteX121" fmla="*/ -919 w 1255237"/>
              <a:gd name="connsiteY121" fmla="*/ 284113 h 309274"/>
              <a:gd name="connsiteX122" fmla="*/ 20497 w 1255237"/>
              <a:gd name="connsiteY122" fmla="*/ 305530 h 309274"/>
              <a:gd name="connsiteX123" fmla="*/ 20555 w 1255237"/>
              <a:gd name="connsiteY123" fmla="*/ 305530 h 309274"/>
              <a:gd name="connsiteX124" fmla="*/ 280868 w 1255237"/>
              <a:gd name="connsiteY124" fmla="*/ 305530 h 309274"/>
              <a:gd name="connsiteX125" fmla="*/ 302284 w 1255237"/>
              <a:gd name="connsiteY125" fmla="*/ 284113 h 309274"/>
              <a:gd name="connsiteX126" fmla="*/ 302284 w 1255237"/>
              <a:gd name="connsiteY126" fmla="*/ 20949 h 309274"/>
              <a:gd name="connsiteX127" fmla="*/ 280868 w 1255237"/>
              <a:gd name="connsiteY127" fmla="*/ -467 h 309274"/>
              <a:gd name="connsiteX128" fmla="*/ 373109 w 1255237"/>
              <a:gd name="connsiteY128" fmla="*/ 34043 h 309274"/>
              <a:gd name="connsiteX129" fmla="*/ 381373 w 1255237"/>
              <a:gd name="connsiteY129" fmla="*/ 34043 h 309274"/>
              <a:gd name="connsiteX130" fmla="*/ 399880 w 1255237"/>
              <a:gd name="connsiteY130" fmla="*/ 48604 h 309274"/>
              <a:gd name="connsiteX131" fmla="*/ 385331 w 1255237"/>
              <a:gd name="connsiteY131" fmla="*/ 67099 h 309274"/>
              <a:gd name="connsiteX132" fmla="*/ 381373 w 1255237"/>
              <a:gd name="connsiteY132" fmla="*/ 67099 h 309274"/>
              <a:gd name="connsiteX133" fmla="*/ 373167 w 1255237"/>
              <a:gd name="connsiteY133" fmla="*/ 67099 h 309274"/>
              <a:gd name="connsiteX134" fmla="*/ 373167 w 1255237"/>
              <a:gd name="connsiteY134" fmla="*/ 34043 h 309274"/>
              <a:gd name="connsiteX135" fmla="*/ 392547 w 1255237"/>
              <a:gd name="connsiteY135" fmla="*/ -467 h 309274"/>
              <a:gd name="connsiteX136" fmla="*/ 320558 w 1255237"/>
              <a:gd name="connsiteY136" fmla="*/ -467 h 309274"/>
              <a:gd name="connsiteX137" fmla="*/ 320558 w 1255237"/>
              <a:gd name="connsiteY137" fmla="*/ 143569 h 309274"/>
              <a:gd name="connsiteX138" fmla="*/ 372935 w 1255237"/>
              <a:gd name="connsiteY138" fmla="*/ 143569 h 309274"/>
              <a:gd name="connsiteX139" fmla="*/ 372935 w 1255237"/>
              <a:gd name="connsiteY139" fmla="*/ 102017 h 309274"/>
              <a:gd name="connsiteX140" fmla="*/ 392372 w 1255237"/>
              <a:gd name="connsiteY140" fmla="*/ 102017 h 309274"/>
              <a:gd name="connsiteX141" fmla="*/ 452140 w 1255237"/>
              <a:gd name="connsiteY141" fmla="*/ 50396 h 309274"/>
              <a:gd name="connsiteX142" fmla="*/ 392372 w 1255237"/>
              <a:gd name="connsiteY142" fmla="*/ -467 h 309274"/>
              <a:gd name="connsiteX143" fmla="*/ 699533 w 1255237"/>
              <a:gd name="connsiteY143" fmla="*/ 41260 h 309274"/>
              <a:gd name="connsiteX144" fmla="*/ 724208 w 1255237"/>
              <a:gd name="connsiteY144" fmla="*/ 72278 h 309274"/>
              <a:gd name="connsiteX145" fmla="*/ 699591 w 1255237"/>
              <a:gd name="connsiteY145" fmla="*/ 102424 h 309274"/>
              <a:gd name="connsiteX146" fmla="*/ 675207 w 1255237"/>
              <a:gd name="connsiteY146" fmla="*/ 72278 h 309274"/>
              <a:gd name="connsiteX147" fmla="*/ 699533 w 1255237"/>
              <a:gd name="connsiteY147" fmla="*/ 41260 h 309274"/>
              <a:gd name="connsiteX148" fmla="*/ 830765 w 1255237"/>
              <a:gd name="connsiteY148" fmla="*/ -467 h 309274"/>
              <a:gd name="connsiteX149" fmla="*/ 699707 w 1255237"/>
              <a:gd name="connsiteY149" fmla="*/ -467 h 309274"/>
              <a:gd name="connsiteX150" fmla="*/ 644305 w 1255237"/>
              <a:gd name="connsiteY150" fmla="*/ 18330 h 309274"/>
              <a:gd name="connsiteX151" fmla="*/ 624110 w 1255237"/>
              <a:gd name="connsiteY151" fmla="*/ 72045 h 309274"/>
              <a:gd name="connsiteX152" fmla="*/ 644305 w 1255237"/>
              <a:gd name="connsiteY152" fmla="*/ 122909 h 309274"/>
              <a:gd name="connsiteX153" fmla="*/ 699765 w 1255237"/>
              <a:gd name="connsiteY153" fmla="*/ 143569 h 309274"/>
              <a:gd name="connsiteX154" fmla="*/ 830765 w 1255237"/>
              <a:gd name="connsiteY154" fmla="*/ 143569 h 309274"/>
              <a:gd name="connsiteX155" fmla="*/ 830765 w 1255237"/>
              <a:gd name="connsiteY155" fmla="*/ 108651 h 309274"/>
              <a:gd name="connsiteX156" fmla="*/ 771812 w 1255237"/>
              <a:gd name="connsiteY156" fmla="*/ 108651 h 309274"/>
              <a:gd name="connsiteX157" fmla="*/ 771812 w 1255237"/>
              <a:gd name="connsiteY157" fmla="*/ 88515 h 309274"/>
              <a:gd name="connsiteX158" fmla="*/ 830009 w 1255237"/>
              <a:gd name="connsiteY158" fmla="*/ 88515 h 309274"/>
              <a:gd name="connsiteX159" fmla="*/ 830009 w 1255237"/>
              <a:gd name="connsiteY159" fmla="*/ 54237 h 309274"/>
              <a:gd name="connsiteX160" fmla="*/ 771812 w 1255237"/>
              <a:gd name="connsiteY160" fmla="*/ 54237 h 309274"/>
              <a:gd name="connsiteX161" fmla="*/ 771812 w 1255237"/>
              <a:gd name="connsiteY161" fmla="*/ 34334 h 309274"/>
              <a:gd name="connsiteX162" fmla="*/ 830765 w 1255237"/>
              <a:gd name="connsiteY162" fmla="*/ 34334 h 309274"/>
              <a:gd name="connsiteX163" fmla="*/ 830765 w 1255237"/>
              <a:gd name="connsiteY163" fmla="*/ -293 h 309274"/>
              <a:gd name="connsiteX164" fmla="*/ 948090 w 1255237"/>
              <a:gd name="connsiteY164" fmla="*/ 246111 h 309274"/>
              <a:gd name="connsiteX165" fmla="*/ 959322 w 1255237"/>
              <a:gd name="connsiteY165" fmla="*/ 210204 h 309274"/>
              <a:gd name="connsiteX166" fmla="*/ 970495 w 1255237"/>
              <a:gd name="connsiteY166" fmla="*/ 246111 h 309274"/>
              <a:gd name="connsiteX167" fmla="*/ 987314 w 1255237"/>
              <a:gd name="connsiteY167" fmla="*/ 161377 h 309274"/>
              <a:gd name="connsiteX168" fmla="*/ 931504 w 1255237"/>
              <a:gd name="connsiteY168" fmla="*/ 161377 h 309274"/>
              <a:gd name="connsiteX169" fmla="*/ 871969 w 1255237"/>
              <a:gd name="connsiteY169" fmla="*/ 305471 h 309274"/>
              <a:gd name="connsiteX170" fmla="*/ 925916 w 1255237"/>
              <a:gd name="connsiteY170" fmla="*/ 305471 h 309274"/>
              <a:gd name="connsiteX171" fmla="*/ 936159 w 1255237"/>
              <a:gd name="connsiteY171" fmla="*/ 279457 h 309274"/>
              <a:gd name="connsiteX172" fmla="*/ 982716 w 1255237"/>
              <a:gd name="connsiteY172" fmla="*/ 279457 h 309274"/>
              <a:gd name="connsiteX173" fmla="*/ 992959 w 1255237"/>
              <a:gd name="connsiteY173" fmla="*/ 305471 h 309274"/>
              <a:gd name="connsiteX174" fmla="*/ 1046267 w 1255237"/>
              <a:gd name="connsiteY174" fmla="*/ 305471 h 309274"/>
              <a:gd name="connsiteX175" fmla="*/ 987372 w 1255237"/>
              <a:gd name="connsiteY175" fmla="*/ 161377 h 309274"/>
              <a:gd name="connsiteX176" fmla="*/ 519881 w 1255237"/>
              <a:gd name="connsiteY176" fmla="*/ 202115 h 309274"/>
              <a:gd name="connsiteX177" fmla="*/ 544847 w 1255237"/>
              <a:gd name="connsiteY177" fmla="*/ 234064 h 309274"/>
              <a:gd name="connsiteX178" fmla="*/ 519881 w 1255237"/>
              <a:gd name="connsiteY178" fmla="*/ 265258 h 309274"/>
              <a:gd name="connsiteX179" fmla="*/ 495089 w 1255237"/>
              <a:gd name="connsiteY179" fmla="*/ 234064 h 309274"/>
              <a:gd name="connsiteX180" fmla="*/ 519881 w 1255237"/>
              <a:gd name="connsiteY180" fmla="*/ 202115 h 309274"/>
              <a:gd name="connsiteX181" fmla="*/ 597805 w 1255237"/>
              <a:gd name="connsiteY181" fmla="*/ 233831 h 309274"/>
              <a:gd name="connsiteX182" fmla="*/ 519531 w 1255237"/>
              <a:gd name="connsiteY182" fmla="*/ 158176 h 309274"/>
              <a:gd name="connsiteX183" fmla="*/ 442363 w 1255237"/>
              <a:gd name="connsiteY183" fmla="*/ 233831 h 309274"/>
              <a:gd name="connsiteX184" fmla="*/ 519531 w 1255237"/>
              <a:gd name="connsiteY184" fmla="*/ 308497 h 309274"/>
              <a:gd name="connsiteX185" fmla="*/ 597805 w 1255237"/>
              <a:gd name="connsiteY185" fmla="*/ 233831 h 30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1255237" h="309274">
                <a:moveTo>
                  <a:pt x="1253854" y="161377"/>
                </a:moveTo>
                <a:lnTo>
                  <a:pt x="1253854" y="199670"/>
                </a:lnTo>
                <a:lnTo>
                  <a:pt x="1218004" y="199670"/>
                </a:lnTo>
                <a:lnTo>
                  <a:pt x="1218004" y="305471"/>
                </a:lnTo>
                <a:lnTo>
                  <a:pt x="1165628" y="305471"/>
                </a:lnTo>
                <a:lnTo>
                  <a:pt x="1165628" y="199670"/>
                </a:lnTo>
                <a:lnTo>
                  <a:pt x="1118721" y="199670"/>
                </a:lnTo>
                <a:cubicBezTo>
                  <a:pt x="1097247" y="199670"/>
                  <a:pt x="1087528" y="216140"/>
                  <a:pt x="1087528" y="233890"/>
                </a:cubicBezTo>
                <a:cubicBezTo>
                  <a:pt x="1087528" y="253793"/>
                  <a:pt x="1104230" y="268226"/>
                  <a:pt x="1124075" y="269215"/>
                </a:cubicBezTo>
                <a:cubicBezTo>
                  <a:pt x="1134027" y="270175"/>
                  <a:pt x="1143921" y="266753"/>
                  <a:pt x="1151137" y="259845"/>
                </a:cubicBezTo>
                <a:lnTo>
                  <a:pt x="1151137" y="298953"/>
                </a:lnTo>
                <a:cubicBezTo>
                  <a:pt x="1140021" y="305599"/>
                  <a:pt x="1127218" y="308946"/>
                  <a:pt x="1114298" y="308614"/>
                </a:cubicBezTo>
                <a:cubicBezTo>
                  <a:pt x="1071990" y="308963"/>
                  <a:pt x="1035617" y="276315"/>
                  <a:pt x="1035733" y="233890"/>
                </a:cubicBezTo>
                <a:cubicBezTo>
                  <a:pt x="1035733" y="192570"/>
                  <a:pt x="1059711" y="161377"/>
                  <a:pt x="1114356" y="161377"/>
                </a:cubicBezTo>
                <a:close/>
                <a:moveTo>
                  <a:pt x="768554" y="161377"/>
                </a:moveTo>
                <a:lnTo>
                  <a:pt x="715362" y="161377"/>
                </a:lnTo>
                <a:lnTo>
                  <a:pt x="715362" y="223473"/>
                </a:lnTo>
                <a:lnTo>
                  <a:pt x="653092" y="161377"/>
                </a:lnTo>
                <a:lnTo>
                  <a:pt x="611714" y="161377"/>
                </a:lnTo>
                <a:lnTo>
                  <a:pt x="611714" y="305471"/>
                </a:lnTo>
                <a:lnTo>
                  <a:pt x="664091" y="305471"/>
                </a:lnTo>
                <a:lnTo>
                  <a:pt x="664091" y="244482"/>
                </a:lnTo>
                <a:lnTo>
                  <a:pt x="724732" y="305471"/>
                </a:lnTo>
                <a:lnTo>
                  <a:pt x="768496" y="305471"/>
                </a:lnTo>
                <a:lnTo>
                  <a:pt x="768496" y="161377"/>
                </a:lnTo>
                <a:close/>
                <a:moveTo>
                  <a:pt x="432004" y="165684"/>
                </a:moveTo>
                <a:cubicBezTo>
                  <a:pt x="418619" y="159945"/>
                  <a:pt x="404012" y="157414"/>
                  <a:pt x="389462" y="158293"/>
                </a:cubicBezTo>
                <a:cubicBezTo>
                  <a:pt x="347445" y="158223"/>
                  <a:pt x="313109" y="191924"/>
                  <a:pt x="312469" y="233948"/>
                </a:cubicBezTo>
                <a:cubicBezTo>
                  <a:pt x="312469" y="277013"/>
                  <a:pt x="345466" y="308672"/>
                  <a:pt x="393944" y="308672"/>
                </a:cubicBezTo>
                <a:cubicBezTo>
                  <a:pt x="407445" y="309481"/>
                  <a:pt x="420947" y="306647"/>
                  <a:pt x="432993" y="300467"/>
                </a:cubicBezTo>
                <a:lnTo>
                  <a:pt x="432993" y="258565"/>
                </a:lnTo>
                <a:cubicBezTo>
                  <a:pt x="423740" y="264833"/>
                  <a:pt x="412799" y="268196"/>
                  <a:pt x="401625" y="268226"/>
                </a:cubicBezTo>
                <a:cubicBezTo>
                  <a:pt x="382595" y="268232"/>
                  <a:pt x="367057" y="252984"/>
                  <a:pt x="366707" y="233948"/>
                </a:cubicBezTo>
                <a:cubicBezTo>
                  <a:pt x="366591" y="214470"/>
                  <a:pt x="382304" y="198605"/>
                  <a:pt x="401800" y="198506"/>
                </a:cubicBezTo>
                <a:cubicBezTo>
                  <a:pt x="401858" y="198506"/>
                  <a:pt x="401917" y="198506"/>
                  <a:pt x="401975" y="198506"/>
                </a:cubicBezTo>
                <a:cubicBezTo>
                  <a:pt x="412799" y="198326"/>
                  <a:pt x="423391" y="201858"/>
                  <a:pt x="431945" y="208516"/>
                </a:cubicBezTo>
                <a:cubicBezTo>
                  <a:pt x="431945" y="208516"/>
                  <a:pt x="431945" y="165218"/>
                  <a:pt x="431945" y="165742"/>
                </a:cubicBezTo>
                <a:close/>
                <a:moveTo>
                  <a:pt x="899146" y="161377"/>
                </a:moveTo>
                <a:lnTo>
                  <a:pt x="775304" y="161377"/>
                </a:lnTo>
                <a:lnTo>
                  <a:pt x="775304" y="199728"/>
                </a:lnTo>
                <a:lnTo>
                  <a:pt x="812026" y="199728"/>
                </a:lnTo>
                <a:lnTo>
                  <a:pt x="812026" y="305530"/>
                </a:lnTo>
                <a:lnTo>
                  <a:pt x="863880" y="305530"/>
                </a:lnTo>
                <a:lnTo>
                  <a:pt x="863880" y="199670"/>
                </a:lnTo>
                <a:lnTo>
                  <a:pt x="899379" y="199670"/>
                </a:lnTo>
                <a:lnTo>
                  <a:pt x="899379" y="161377"/>
                </a:lnTo>
                <a:close/>
                <a:moveTo>
                  <a:pt x="1169411" y="104752"/>
                </a:moveTo>
                <a:lnTo>
                  <a:pt x="1193911" y="143569"/>
                </a:lnTo>
                <a:lnTo>
                  <a:pt x="1254319" y="143569"/>
                </a:lnTo>
                <a:cubicBezTo>
                  <a:pt x="1254319" y="143569"/>
                  <a:pt x="1218878" y="94626"/>
                  <a:pt x="1200138" y="69834"/>
                </a:cubicBezTo>
                <a:lnTo>
                  <a:pt x="1254028" y="-409"/>
                </a:lnTo>
                <a:lnTo>
                  <a:pt x="1194493" y="-409"/>
                </a:lnTo>
                <a:lnTo>
                  <a:pt x="1169294" y="33869"/>
                </a:lnTo>
                <a:lnTo>
                  <a:pt x="1169643" y="33869"/>
                </a:lnTo>
                <a:lnTo>
                  <a:pt x="1144619" y="-409"/>
                </a:lnTo>
                <a:lnTo>
                  <a:pt x="1084968" y="-409"/>
                </a:lnTo>
                <a:lnTo>
                  <a:pt x="1138799" y="69834"/>
                </a:lnTo>
                <a:cubicBezTo>
                  <a:pt x="1120060" y="94626"/>
                  <a:pt x="1084618" y="143569"/>
                  <a:pt x="1084618" y="143569"/>
                </a:cubicBezTo>
                <a:lnTo>
                  <a:pt x="1145142" y="143569"/>
                </a:lnTo>
                <a:lnTo>
                  <a:pt x="1169643" y="104752"/>
                </a:lnTo>
                <a:close/>
                <a:moveTo>
                  <a:pt x="1022115" y="-409"/>
                </a:moveTo>
                <a:lnTo>
                  <a:pt x="1022115" y="143569"/>
                </a:lnTo>
                <a:lnTo>
                  <a:pt x="1078275" y="143569"/>
                </a:lnTo>
                <a:lnTo>
                  <a:pt x="1078275" y="-409"/>
                </a:lnTo>
                <a:close/>
                <a:moveTo>
                  <a:pt x="512780" y="-409"/>
                </a:moveTo>
                <a:lnTo>
                  <a:pt x="460403" y="-409"/>
                </a:lnTo>
                <a:lnTo>
                  <a:pt x="460403" y="143627"/>
                </a:lnTo>
                <a:lnTo>
                  <a:pt x="512780" y="143627"/>
                </a:lnTo>
                <a:lnTo>
                  <a:pt x="512780" y="91250"/>
                </a:lnTo>
                <a:lnTo>
                  <a:pt x="557650" y="91250"/>
                </a:lnTo>
                <a:lnTo>
                  <a:pt x="557650" y="143627"/>
                </a:lnTo>
                <a:lnTo>
                  <a:pt x="610027" y="143627"/>
                </a:lnTo>
                <a:lnTo>
                  <a:pt x="610027" y="-467"/>
                </a:lnTo>
                <a:lnTo>
                  <a:pt x="557650" y="-467"/>
                </a:lnTo>
                <a:lnTo>
                  <a:pt x="557650" y="48709"/>
                </a:lnTo>
                <a:lnTo>
                  <a:pt x="512722" y="48709"/>
                </a:lnTo>
                <a:lnTo>
                  <a:pt x="512722" y="-467"/>
                </a:lnTo>
                <a:close/>
                <a:moveTo>
                  <a:pt x="1004481" y="-409"/>
                </a:moveTo>
                <a:lnTo>
                  <a:pt x="952105" y="-409"/>
                </a:lnTo>
                <a:lnTo>
                  <a:pt x="952105" y="60639"/>
                </a:lnTo>
                <a:lnTo>
                  <a:pt x="887682" y="-467"/>
                </a:lnTo>
                <a:lnTo>
                  <a:pt x="846188" y="-467"/>
                </a:lnTo>
                <a:lnTo>
                  <a:pt x="846188" y="143569"/>
                </a:lnTo>
                <a:lnTo>
                  <a:pt x="898564" y="143569"/>
                </a:lnTo>
                <a:lnTo>
                  <a:pt x="898564" y="82637"/>
                </a:lnTo>
                <a:lnTo>
                  <a:pt x="960485" y="143569"/>
                </a:lnTo>
                <a:lnTo>
                  <a:pt x="1004481" y="143569"/>
                </a:lnTo>
                <a:lnTo>
                  <a:pt x="1004481" y="-467"/>
                </a:lnTo>
                <a:close/>
                <a:moveTo>
                  <a:pt x="158365" y="214161"/>
                </a:moveTo>
                <a:lnTo>
                  <a:pt x="158365" y="187856"/>
                </a:lnTo>
                <a:cubicBezTo>
                  <a:pt x="158190" y="179726"/>
                  <a:pt x="162380" y="172126"/>
                  <a:pt x="169306" y="167895"/>
                </a:cubicBezTo>
                <a:cubicBezTo>
                  <a:pt x="182167" y="159910"/>
                  <a:pt x="190082" y="145996"/>
                  <a:pt x="190430" y="130882"/>
                </a:cubicBezTo>
                <a:cubicBezTo>
                  <a:pt x="190430" y="118445"/>
                  <a:pt x="184960" y="106643"/>
                  <a:pt x="175416" y="98641"/>
                </a:cubicBezTo>
                <a:cubicBezTo>
                  <a:pt x="168258" y="91949"/>
                  <a:pt x="158481" y="89330"/>
                  <a:pt x="158481" y="78971"/>
                </a:cubicBezTo>
                <a:lnTo>
                  <a:pt x="158481" y="51037"/>
                </a:lnTo>
                <a:cubicBezTo>
                  <a:pt x="158481" y="42133"/>
                  <a:pt x="158481" y="34218"/>
                  <a:pt x="174136" y="34218"/>
                </a:cubicBezTo>
                <a:cubicBezTo>
                  <a:pt x="225698" y="34218"/>
                  <a:pt x="268355" y="81764"/>
                  <a:pt x="268355" y="129834"/>
                </a:cubicBezTo>
                <a:cubicBezTo>
                  <a:pt x="268355" y="177905"/>
                  <a:pt x="228549" y="227023"/>
                  <a:pt x="173903" y="227023"/>
                </a:cubicBezTo>
                <a:cubicBezTo>
                  <a:pt x="157550" y="227023"/>
                  <a:pt x="158539" y="214161"/>
                  <a:pt x="158539" y="214161"/>
                </a:cubicBezTo>
                <a:close/>
                <a:moveTo>
                  <a:pt x="135843" y="187973"/>
                </a:moveTo>
                <a:lnTo>
                  <a:pt x="135843" y="255713"/>
                </a:lnTo>
                <a:cubicBezTo>
                  <a:pt x="135726" y="264495"/>
                  <a:pt x="128626" y="271572"/>
                  <a:pt x="119839" y="271601"/>
                </a:cubicBezTo>
                <a:lnTo>
                  <a:pt x="50876" y="271601"/>
                </a:lnTo>
                <a:cubicBezTo>
                  <a:pt x="41856" y="271415"/>
                  <a:pt x="34464" y="264408"/>
                  <a:pt x="33824" y="255422"/>
                </a:cubicBezTo>
                <a:lnTo>
                  <a:pt x="33824" y="50222"/>
                </a:lnTo>
                <a:cubicBezTo>
                  <a:pt x="33883" y="41504"/>
                  <a:pt x="40924" y="34457"/>
                  <a:pt x="49654" y="34392"/>
                </a:cubicBezTo>
                <a:lnTo>
                  <a:pt x="119955" y="34392"/>
                </a:lnTo>
                <a:cubicBezTo>
                  <a:pt x="135668" y="34392"/>
                  <a:pt x="135668" y="42307"/>
                  <a:pt x="135668" y="51095"/>
                </a:cubicBezTo>
                <a:lnTo>
                  <a:pt x="135668" y="79029"/>
                </a:lnTo>
                <a:cubicBezTo>
                  <a:pt x="135668" y="89737"/>
                  <a:pt x="126299" y="91774"/>
                  <a:pt x="118733" y="98641"/>
                </a:cubicBezTo>
                <a:cubicBezTo>
                  <a:pt x="108955" y="106440"/>
                  <a:pt x="103369" y="118323"/>
                  <a:pt x="103544" y="130824"/>
                </a:cubicBezTo>
                <a:cubicBezTo>
                  <a:pt x="104242" y="145833"/>
                  <a:pt x="112098" y="159608"/>
                  <a:pt x="124611" y="167895"/>
                </a:cubicBezTo>
                <a:cubicBezTo>
                  <a:pt x="131478" y="172266"/>
                  <a:pt x="135610" y="179848"/>
                  <a:pt x="135552" y="187973"/>
                </a:cubicBezTo>
                <a:close/>
                <a:moveTo>
                  <a:pt x="147482" y="151716"/>
                </a:moveTo>
                <a:cubicBezTo>
                  <a:pt x="135959" y="151751"/>
                  <a:pt x="126647" y="142446"/>
                  <a:pt x="126589" y="130940"/>
                </a:cubicBezTo>
                <a:cubicBezTo>
                  <a:pt x="126531" y="119435"/>
                  <a:pt x="135843" y="110083"/>
                  <a:pt x="147366" y="110048"/>
                </a:cubicBezTo>
                <a:cubicBezTo>
                  <a:pt x="158888" y="110019"/>
                  <a:pt x="168200" y="119319"/>
                  <a:pt x="168258" y="130824"/>
                </a:cubicBezTo>
                <a:cubicBezTo>
                  <a:pt x="168258" y="130865"/>
                  <a:pt x="168258" y="130900"/>
                  <a:pt x="168258" y="130940"/>
                </a:cubicBezTo>
                <a:cubicBezTo>
                  <a:pt x="168200" y="142399"/>
                  <a:pt x="158947" y="151687"/>
                  <a:pt x="147482" y="151716"/>
                </a:cubicBezTo>
                <a:close/>
                <a:moveTo>
                  <a:pt x="20555" y="-467"/>
                </a:moveTo>
                <a:cubicBezTo>
                  <a:pt x="8741" y="-467"/>
                  <a:pt x="-861" y="9112"/>
                  <a:pt x="-919" y="20949"/>
                </a:cubicBezTo>
                <a:lnTo>
                  <a:pt x="-919" y="284113"/>
                </a:lnTo>
                <a:cubicBezTo>
                  <a:pt x="-919" y="295939"/>
                  <a:pt x="8683" y="305530"/>
                  <a:pt x="20497" y="305530"/>
                </a:cubicBezTo>
                <a:cubicBezTo>
                  <a:pt x="20497" y="305530"/>
                  <a:pt x="20555" y="305530"/>
                  <a:pt x="20555" y="305530"/>
                </a:cubicBezTo>
                <a:lnTo>
                  <a:pt x="280868" y="305530"/>
                </a:lnTo>
                <a:cubicBezTo>
                  <a:pt x="292682" y="305530"/>
                  <a:pt x="302284" y="295939"/>
                  <a:pt x="302284" y="284113"/>
                </a:cubicBezTo>
                <a:lnTo>
                  <a:pt x="302284" y="20949"/>
                </a:lnTo>
                <a:cubicBezTo>
                  <a:pt x="302284" y="9123"/>
                  <a:pt x="292682" y="-467"/>
                  <a:pt x="280868" y="-467"/>
                </a:cubicBezTo>
                <a:close/>
                <a:moveTo>
                  <a:pt x="373109" y="34043"/>
                </a:moveTo>
                <a:lnTo>
                  <a:pt x="381373" y="34043"/>
                </a:lnTo>
                <a:cubicBezTo>
                  <a:pt x="390510" y="32961"/>
                  <a:pt x="398774" y="39479"/>
                  <a:pt x="399880" y="48604"/>
                </a:cubicBezTo>
                <a:cubicBezTo>
                  <a:pt x="400927" y="57735"/>
                  <a:pt x="394409" y="66016"/>
                  <a:pt x="385331" y="67099"/>
                </a:cubicBezTo>
                <a:cubicBezTo>
                  <a:pt x="383992" y="67256"/>
                  <a:pt x="382653" y="67256"/>
                  <a:pt x="381373" y="67099"/>
                </a:cubicBezTo>
                <a:lnTo>
                  <a:pt x="373167" y="67099"/>
                </a:lnTo>
                <a:lnTo>
                  <a:pt x="373167" y="34043"/>
                </a:lnTo>
                <a:close/>
                <a:moveTo>
                  <a:pt x="392547" y="-467"/>
                </a:moveTo>
                <a:lnTo>
                  <a:pt x="320558" y="-467"/>
                </a:lnTo>
                <a:lnTo>
                  <a:pt x="320558" y="143569"/>
                </a:lnTo>
                <a:lnTo>
                  <a:pt x="372935" y="143569"/>
                </a:lnTo>
                <a:lnTo>
                  <a:pt x="372935" y="102017"/>
                </a:lnTo>
                <a:lnTo>
                  <a:pt x="392372" y="102017"/>
                </a:lnTo>
                <a:cubicBezTo>
                  <a:pt x="422111" y="102017"/>
                  <a:pt x="452314" y="81182"/>
                  <a:pt x="452140" y="50396"/>
                </a:cubicBezTo>
                <a:cubicBezTo>
                  <a:pt x="451965" y="19610"/>
                  <a:pt x="431480" y="-467"/>
                  <a:pt x="392372" y="-467"/>
                </a:cubicBezTo>
                <a:close/>
                <a:moveTo>
                  <a:pt x="699533" y="41260"/>
                </a:moveTo>
                <a:cubicBezTo>
                  <a:pt x="715013" y="41260"/>
                  <a:pt x="724382" y="56798"/>
                  <a:pt x="724208" y="72278"/>
                </a:cubicBezTo>
                <a:cubicBezTo>
                  <a:pt x="724033" y="87759"/>
                  <a:pt x="714839" y="102482"/>
                  <a:pt x="699591" y="102424"/>
                </a:cubicBezTo>
                <a:cubicBezTo>
                  <a:pt x="684344" y="102366"/>
                  <a:pt x="675381" y="87351"/>
                  <a:pt x="675207" y="72278"/>
                </a:cubicBezTo>
                <a:cubicBezTo>
                  <a:pt x="675032" y="57205"/>
                  <a:pt x="684169" y="41376"/>
                  <a:pt x="699533" y="41260"/>
                </a:cubicBezTo>
                <a:close/>
                <a:moveTo>
                  <a:pt x="830765" y="-467"/>
                </a:moveTo>
                <a:lnTo>
                  <a:pt x="699707" y="-467"/>
                </a:lnTo>
                <a:cubicBezTo>
                  <a:pt x="674101" y="-467"/>
                  <a:pt x="658970" y="4363"/>
                  <a:pt x="644305" y="18330"/>
                </a:cubicBezTo>
                <a:cubicBezTo>
                  <a:pt x="629639" y="32297"/>
                  <a:pt x="624110" y="49698"/>
                  <a:pt x="624110" y="72045"/>
                </a:cubicBezTo>
                <a:cubicBezTo>
                  <a:pt x="624052" y="90965"/>
                  <a:pt x="631268" y="109175"/>
                  <a:pt x="644305" y="122909"/>
                </a:cubicBezTo>
                <a:cubicBezTo>
                  <a:pt x="659261" y="136952"/>
                  <a:pt x="679280" y="144389"/>
                  <a:pt x="699765" y="143569"/>
                </a:cubicBezTo>
                <a:lnTo>
                  <a:pt x="830765" y="143569"/>
                </a:lnTo>
                <a:lnTo>
                  <a:pt x="830765" y="108651"/>
                </a:lnTo>
                <a:lnTo>
                  <a:pt x="771812" y="108651"/>
                </a:lnTo>
                <a:lnTo>
                  <a:pt x="771812" y="88515"/>
                </a:lnTo>
                <a:lnTo>
                  <a:pt x="830009" y="88515"/>
                </a:lnTo>
                <a:lnTo>
                  <a:pt x="830009" y="54237"/>
                </a:lnTo>
                <a:lnTo>
                  <a:pt x="771812" y="54237"/>
                </a:lnTo>
                <a:lnTo>
                  <a:pt x="771812" y="34334"/>
                </a:lnTo>
                <a:lnTo>
                  <a:pt x="830765" y="34334"/>
                </a:lnTo>
                <a:lnTo>
                  <a:pt x="830765" y="-293"/>
                </a:lnTo>
                <a:close/>
                <a:moveTo>
                  <a:pt x="948090" y="246111"/>
                </a:moveTo>
                <a:lnTo>
                  <a:pt x="959322" y="210204"/>
                </a:lnTo>
                <a:lnTo>
                  <a:pt x="970495" y="246111"/>
                </a:lnTo>
                <a:close/>
                <a:moveTo>
                  <a:pt x="987314" y="161377"/>
                </a:moveTo>
                <a:lnTo>
                  <a:pt x="931504" y="161377"/>
                </a:lnTo>
                <a:lnTo>
                  <a:pt x="871969" y="305471"/>
                </a:lnTo>
                <a:lnTo>
                  <a:pt x="925916" y="305471"/>
                </a:lnTo>
                <a:lnTo>
                  <a:pt x="936159" y="279457"/>
                </a:lnTo>
                <a:lnTo>
                  <a:pt x="982716" y="279457"/>
                </a:lnTo>
                <a:lnTo>
                  <a:pt x="992959" y="305471"/>
                </a:lnTo>
                <a:lnTo>
                  <a:pt x="1046267" y="305471"/>
                </a:lnTo>
                <a:lnTo>
                  <a:pt x="987372" y="161377"/>
                </a:lnTo>
                <a:close/>
                <a:moveTo>
                  <a:pt x="519881" y="202115"/>
                </a:moveTo>
                <a:cubicBezTo>
                  <a:pt x="535710" y="202115"/>
                  <a:pt x="545080" y="218293"/>
                  <a:pt x="544847" y="234064"/>
                </a:cubicBezTo>
                <a:cubicBezTo>
                  <a:pt x="544614" y="249835"/>
                  <a:pt x="535477" y="265316"/>
                  <a:pt x="519881" y="265258"/>
                </a:cubicBezTo>
                <a:cubicBezTo>
                  <a:pt x="504284" y="265199"/>
                  <a:pt x="495263" y="249603"/>
                  <a:pt x="495089" y="234064"/>
                </a:cubicBezTo>
                <a:cubicBezTo>
                  <a:pt x="494914" y="218526"/>
                  <a:pt x="504109" y="202231"/>
                  <a:pt x="519881" y="202115"/>
                </a:cubicBezTo>
                <a:close/>
                <a:moveTo>
                  <a:pt x="597805" y="233831"/>
                </a:moveTo>
                <a:cubicBezTo>
                  <a:pt x="597805" y="191406"/>
                  <a:pt x="567485" y="158176"/>
                  <a:pt x="519531" y="158176"/>
                </a:cubicBezTo>
                <a:cubicBezTo>
                  <a:pt x="472974" y="158176"/>
                  <a:pt x="442130" y="191523"/>
                  <a:pt x="442363" y="233831"/>
                </a:cubicBezTo>
                <a:cubicBezTo>
                  <a:pt x="442596" y="276140"/>
                  <a:pt x="473032" y="308556"/>
                  <a:pt x="519531" y="308497"/>
                </a:cubicBezTo>
                <a:cubicBezTo>
                  <a:pt x="567485" y="308497"/>
                  <a:pt x="597573" y="276024"/>
                  <a:pt x="597805" y="233831"/>
                </a:cubicBezTo>
                <a:close/>
              </a:path>
            </a:pathLst>
          </a:custGeom>
          <a:solidFill>
            <a:schemeClr val="bg1"/>
          </a:solidFill>
          <a:ln w="5818" cap="flat">
            <a:noFill/>
            <a:prstDash val="solid"/>
            <a:miter/>
          </a:ln>
        </p:spPr>
        <p:txBody>
          <a:bodyPr rtlCol="0" anchor="ctr"/>
          <a:lstStyle/>
          <a:p>
            <a:endParaRPr lang="de-DE"/>
          </a:p>
        </p:txBody>
      </p:sp>
    </p:spTree>
    <p:extLst>
      <p:ext uri="{BB962C8B-B14F-4D97-AF65-F5344CB8AC3E}">
        <p14:creationId xmlns:p14="http://schemas.microsoft.com/office/powerpoint/2010/main" val="238405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intro">
    <p:spTree>
      <p:nvGrpSpPr>
        <p:cNvPr id="1" name=""/>
        <p:cNvGrpSpPr/>
        <p:nvPr/>
      </p:nvGrpSpPr>
      <p:grpSpPr>
        <a:xfrm>
          <a:off x="0" y="0"/>
          <a:ext cx="0" cy="0"/>
          <a:chOff x="0" y="0"/>
          <a:chExt cx="0" cy="0"/>
        </a:xfrm>
      </p:grpSpPr>
      <p:sp>
        <p:nvSpPr>
          <p:cNvPr id="8" name="Bild">
            <a:extLst>
              <a:ext uri="{FF2B5EF4-FFF2-40B4-BE49-F238E27FC236}">
                <a16:creationId xmlns:a16="http://schemas.microsoft.com/office/drawing/2014/main" id="{A5C72CBC-2138-4533-8C53-BC50FD8724C7}"/>
              </a:ext>
            </a:extLst>
          </p:cNvPr>
          <p:cNvSpPr>
            <a:spLocks noGrp="1" noChangeAspect="1"/>
          </p:cNvSpPr>
          <p:nvPr>
            <p:ph type="pic" sz="quarter" idx="18" hasCustomPrompt="1"/>
          </p:nvPr>
        </p:nvSpPr>
        <p:spPr bwMode="gray">
          <a:xfrm>
            <a:off x="1" y="1558925"/>
            <a:ext cx="12191999" cy="5299264"/>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6" name="Text">
            <a:extLst>
              <a:ext uri="{FF2B5EF4-FFF2-40B4-BE49-F238E27FC236}">
                <a16:creationId xmlns:a16="http://schemas.microsoft.com/office/drawing/2014/main" id="{B4B758DB-972C-49CC-84D4-118000035AA7}"/>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9" name="Titel">
            <a:extLst>
              <a:ext uri="{FF2B5EF4-FFF2-40B4-BE49-F238E27FC236}">
                <a16:creationId xmlns:a16="http://schemas.microsoft.com/office/drawing/2014/main" id="{4F7185E6-3177-4E84-AB92-A856F6D58FD6}"/>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spTree>
    <p:extLst>
      <p:ext uri="{BB962C8B-B14F-4D97-AF65-F5344CB8AC3E}">
        <p14:creationId xmlns:p14="http://schemas.microsoft.com/office/powerpoint/2010/main" val="353615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8" name="Bild 1"/>
          <p:cNvSpPr>
            <a:spLocks noGrp="1" noChangeAspect="1"/>
          </p:cNvSpPr>
          <p:nvPr>
            <p:ph type="pic" sz="quarter" idx="12" hasCustomPrompt="1"/>
          </p:nvPr>
        </p:nvSpPr>
        <p:spPr bwMode="gray">
          <a:xfrm>
            <a:off x="0" y="0"/>
            <a:ext cx="6095999" cy="6858000"/>
          </a:xfrm>
          <a:prstGeom prst="rect">
            <a:avLst/>
          </a:prstGeom>
          <a:solidFill>
            <a:schemeClr val="bg1">
              <a:lumMod val="95000"/>
            </a:schemeClr>
          </a:solidFill>
        </p:spPr>
        <p:txBody>
          <a:bodyPr vert="horz" lIns="252000" tIns="252000" rIns="252000" bIns="252000" rtlCol="0" anchor="ctr" anchorCtr="0">
            <a:noAutofit/>
          </a:bodyPr>
          <a:lstStyle>
            <a:lvl1pPr marL="285759" indent="-285759" algn="ctr">
              <a:buNone/>
              <a:defRPr lang="de-DE" dirty="0"/>
            </a:lvl1pPr>
          </a:lstStyle>
          <a:p>
            <a:r>
              <a:rPr lang="de-DE" noProof="0" dirty="0"/>
              <a:t>Picture</a:t>
            </a:r>
          </a:p>
        </p:txBody>
      </p:sp>
      <p:sp>
        <p:nvSpPr>
          <p:cNvPr id="5" name="Titel"/>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0" name="Titel">
            <a:extLst>
              <a:ext uri="{FF2B5EF4-FFF2-40B4-BE49-F238E27FC236}">
                <a16:creationId xmlns:a16="http://schemas.microsoft.com/office/drawing/2014/main" id="{272B44CE-A6EA-40E1-91C9-6175AFA6AFAC}"/>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a:solidFill>
                  <a:schemeClr val="accent1"/>
                </a:solidFill>
                <a:latin typeface="+mn-lt"/>
              </a:rPr>
              <a:t>Welcome</a:t>
            </a:r>
          </a:p>
        </p:txBody>
      </p:sp>
      <p:pic>
        <p:nvPicPr>
          <p:cNvPr id="14" name="Grafik 13">
            <a:extLst>
              <a:ext uri="{FF2B5EF4-FFF2-40B4-BE49-F238E27FC236}">
                <a16:creationId xmlns:a16="http://schemas.microsoft.com/office/drawing/2014/main" id="{6B251ABE-24A7-482F-9DB8-0614019A4B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pic>
        <p:nvPicPr>
          <p:cNvPr id="12" name="Grafik 11">
            <a:extLst>
              <a:ext uri="{FF2B5EF4-FFF2-40B4-BE49-F238E27FC236}">
                <a16:creationId xmlns:a16="http://schemas.microsoft.com/office/drawing/2014/main" id="{2C6EED3B-95A0-4399-A7DD-A3ACEE049E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sp>
        <p:nvSpPr>
          <p:cNvPr id="13" name="Textplatzhalter 2">
            <a:extLst>
              <a:ext uri="{FF2B5EF4-FFF2-40B4-BE49-F238E27FC236}">
                <a16:creationId xmlns:a16="http://schemas.microsoft.com/office/drawing/2014/main" id="{2E120284-FE43-4E43-B9D9-6EE70A52AF8D}"/>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387737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94" userDrawn="1">
          <p15:clr>
            <a:srgbClr val="FBAE40"/>
          </p15:clr>
        </p15:guide>
        <p15:guide id="2" pos="5269"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 statement">
    <p:spTree>
      <p:nvGrpSpPr>
        <p:cNvPr id="1" name=""/>
        <p:cNvGrpSpPr/>
        <p:nvPr/>
      </p:nvGrpSpPr>
      <p:grpSpPr>
        <a:xfrm>
          <a:off x="0" y="0"/>
          <a:ext cx="0" cy="0"/>
          <a:chOff x="0" y="0"/>
          <a:chExt cx="0" cy="0"/>
        </a:xfrm>
      </p:grpSpPr>
      <p:sp>
        <p:nvSpPr>
          <p:cNvPr id="6" name="Bild">
            <a:extLst>
              <a:ext uri="{FF2B5EF4-FFF2-40B4-BE49-F238E27FC236}">
                <a16:creationId xmlns:a16="http://schemas.microsoft.com/office/drawing/2014/main" id="{F7D60C74-A833-4C7E-BA2E-C10AF40B6588}"/>
              </a:ext>
            </a:extLst>
          </p:cNvPr>
          <p:cNvSpPr>
            <a:spLocks noGrp="1" noChangeAspect="1"/>
          </p:cNvSpPr>
          <p:nvPr>
            <p:ph type="pic" sz="quarter" idx="18" hasCustomPrompt="1"/>
          </p:nvPr>
        </p:nvSpPr>
        <p:spPr bwMode="gray">
          <a:xfrm>
            <a:off x="0" y="0"/>
            <a:ext cx="12191999" cy="6858000"/>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3" name="Text">
            <a:extLst>
              <a:ext uri="{FF2B5EF4-FFF2-40B4-BE49-F238E27FC236}">
                <a16:creationId xmlns:a16="http://schemas.microsoft.com/office/drawing/2014/main" id="{EF1E941C-EB23-423E-99AE-7D0122867976}"/>
              </a:ext>
            </a:extLst>
          </p:cNvPr>
          <p:cNvSpPr>
            <a:spLocks noGrp="1"/>
          </p:cNvSpPr>
          <p:nvPr>
            <p:ph type="body" sz="quarter" idx="19" hasCustomPrompt="1"/>
          </p:nvPr>
        </p:nvSpPr>
        <p:spPr>
          <a:xfrm>
            <a:off x="0" y="3753456"/>
            <a:ext cx="12193200" cy="2052000"/>
          </a:xfrm>
          <a:solidFill>
            <a:schemeClr val="bg1"/>
          </a:solidFill>
        </p:spPr>
        <p:txBody>
          <a:bodyPr lIns="540000" rIns="540000" anchor="ctr" anchorCtr="0"/>
          <a:lstStyle>
            <a:lvl1pPr marL="0" indent="0" algn="ctr">
              <a:buNone/>
              <a:defRPr sz="2400"/>
            </a:lvl1pPr>
          </a:lstStyle>
          <a:p>
            <a:pPr lvl="0"/>
            <a:r>
              <a:rPr lang="de-DE" noProof="0" dirty="0" err="1"/>
              <a:t>Important</a:t>
            </a:r>
            <a:r>
              <a:rPr lang="de-DE" noProof="0" dirty="0"/>
              <a:t> </a:t>
            </a:r>
            <a:r>
              <a:rPr lang="de-DE" noProof="0" dirty="0" err="1"/>
              <a:t>statement</a:t>
            </a:r>
            <a:r>
              <a:rPr lang="de-DE" noProof="0" dirty="0"/>
              <a:t> </a:t>
            </a:r>
            <a:r>
              <a:rPr lang="de-DE" noProof="0" dirty="0" err="1"/>
              <a:t>or</a:t>
            </a:r>
            <a:r>
              <a:rPr lang="de-DE" noProof="0" dirty="0"/>
              <a:t> </a:t>
            </a:r>
            <a:r>
              <a:rPr lang="de-DE" noProof="0" dirty="0" err="1"/>
              <a:t>result</a:t>
            </a:r>
            <a:endParaRPr lang="de-DE" noProof="0" dirty="0"/>
          </a:p>
        </p:txBody>
      </p:sp>
    </p:spTree>
    <p:extLst>
      <p:ext uri="{BB962C8B-B14F-4D97-AF65-F5344CB8AC3E}">
        <p14:creationId xmlns:p14="http://schemas.microsoft.com/office/powerpoint/2010/main" val="100455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 text left">
    <p:spTree>
      <p:nvGrpSpPr>
        <p:cNvPr id="1" name=""/>
        <p:cNvGrpSpPr/>
        <p:nvPr/>
      </p:nvGrpSpPr>
      <p:grpSpPr>
        <a:xfrm>
          <a:off x="0" y="0"/>
          <a:ext cx="0" cy="0"/>
          <a:chOff x="0" y="0"/>
          <a:chExt cx="0" cy="0"/>
        </a:xfrm>
      </p:grpSpPr>
      <p:sp>
        <p:nvSpPr>
          <p:cNvPr id="4" name="Bild">
            <a:extLst>
              <a:ext uri="{FF2B5EF4-FFF2-40B4-BE49-F238E27FC236}">
                <a16:creationId xmlns:a16="http://schemas.microsoft.com/office/drawing/2014/main" id="{B79FF83D-8C56-4284-8E80-3DBB43101D4B}"/>
              </a:ext>
            </a:extLst>
          </p:cNvPr>
          <p:cNvSpPr>
            <a:spLocks noGrp="1" noChangeAspect="1"/>
          </p:cNvSpPr>
          <p:nvPr>
            <p:ph type="pic" sz="quarter" idx="18" hasCustomPrompt="1"/>
          </p:nvPr>
        </p:nvSpPr>
        <p:spPr bwMode="gray">
          <a:xfrm>
            <a:off x="0" y="0"/>
            <a:ext cx="12191999" cy="6858000"/>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5" name="Text"/>
          <p:cNvSpPr>
            <a:spLocks noGrp="1"/>
          </p:cNvSpPr>
          <p:nvPr>
            <p:ph type="body" sz="quarter" idx="12" hasCustomPrompt="1"/>
          </p:nvPr>
        </p:nvSpPr>
        <p:spPr bwMode="gray">
          <a:xfrm>
            <a:off x="0" y="4229710"/>
            <a:ext cx="6096000" cy="1009416"/>
          </a:xfrm>
          <a:solidFill>
            <a:schemeClr val="bg1"/>
          </a:solidFill>
        </p:spPr>
        <p:txBody>
          <a:bodyPr lIns="540000" rIns="72000" anchor="ctr"/>
          <a:lstStyle>
            <a:lvl1pPr marL="0" marR="0" indent="0"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None/>
              <a:tabLst/>
              <a:defRPr lang="de-DE" sz="2400" dirty="0" smtClean="0"/>
            </a:lvl1pPr>
          </a:lstStyle>
          <a:p>
            <a:pPr marL="0" marR="0" lvl="0" indent="0"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None/>
              <a:tabLst/>
              <a:defRPr/>
            </a:pPr>
            <a:r>
              <a:rPr lang="de-DE" dirty="0"/>
              <a:t>Text</a:t>
            </a:r>
            <a:endParaRPr lang="de-DE" noProof="0" dirty="0"/>
          </a:p>
        </p:txBody>
      </p:sp>
    </p:spTree>
    <p:extLst>
      <p:ext uri="{BB962C8B-B14F-4D97-AF65-F5344CB8AC3E}">
        <p14:creationId xmlns:p14="http://schemas.microsoft.com/office/powerpoint/2010/main" val="30506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 text right">
    <p:spTree>
      <p:nvGrpSpPr>
        <p:cNvPr id="1" name=""/>
        <p:cNvGrpSpPr/>
        <p:nvPr/>
      </p:nvGrpSpPr>
      <p:grpSpPr>
        <a:xfrm>
          <a:off x="0" y="0"/>
          <a:ext cx="0" cy="0"/>
          <a:chOff x="0" y="0"/>
          <a:chExt cx="0" cy="0"/>
        </a:xfrm>
      </p:grpSpPr>
      <p:sp>
        <p:nvSpPr>
          <p:cNvPr id="4" name="Bild">
            <a:extLst>
              <a:ext uri="{FF2B5EF4-FFF2-40B4-BE49-F238E27FC236}">
                <a16:creationId xmlns:a16="http://schemas.microsoft.com/office/drawing/2014/main" id="{E7852240-CFFB-4FB8-9557-176D0FDABC71}"/>
              </a:ext>
            </a:extLst>
          </p:cNvPr>
          <p:cNvSpPr>
            <a:spLocks noGrp="1" noChangeAspect="1"/>
          </p:cNvSpPr>
          <p:nvPr>
            <p:ph type="pic" sz="quarter" idx="18" hasCustomPrompt="1"/>
          </p:nvPr>
        </p:nvSpPr>
        <p:spPr bwMode="gray">
          <a:xfrm>
            <a:off x="0" y="0"/>
            <a:ext cx="12191999" cy="6858000"/>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6" name="Text"/>
          <p:cNvSpPr>
            <a:spLocks noGrp="1"/>
          </p:cNvSpPr>
          <p:nvPr>
            <p:ph type="body" sz="quarter" idx="13" hasCustomPrompt="1"/>
          </p:nvPr>
        </p:nvSpPr>
        <p:spPr bwMode="gray">
          <a:xfrm>
            <a:off x="6095999" y="4229710"/>
            <a:ext cx="6096001" cy="1009416"/>
          </a:xfrm>
          <a:solidFill>
            <a:schemeClr val="bg2"/>
          </a:solidFill>
        </p:spPr>
        <p:txBody>
          <a:bodyPr vert="horz" lIns="72000" tIns="72000" rIns="540000" bIns="72000" rtlCol="0" anchor="ctr">
            <a:noAutofit/>
          </a:bodyPr>
          <a:lstStyle>
            <a:lvl1pPr marL="270009" indent="-270009" algn="r">
              <a:spcBef>
                <a:spcPts val="0"/>
              </a:spcBef>
              <a:buNone/>
              <a:defRPr lang="en-US" sz="2400" dirty="0" smtClean="0"/>
            </a:lvl1pPr>
          </a:lstStyle>
          <a:p>
            <a:pPr marL="0" marR="0" lvl="0" indent="0" fontAlgn="auto">
              <a:lnSpc>
                <a:spcPct val="100000"/>
              </a:lnSpc>
              <a:buSzTx/>
              <a:tabLst/>
            </a:pPr>
            <a:r>
              <a:rPr lang="de-DE" noProof="0" dirty="0"/>
              <a:t>Text</a:t>
            </a:r>
          </a:p>
        </p:txBody>
      </p:sp>
    </p:spTree>
    <p:extLst>
      <p:ext uri="{BB962C8B-B14F-4D97-AF65-F5344CB8AC3E}">
        <p14:creationId xmlns:p14="http://schemas.microsoft.com/office/powerpoint/2010/main" val="280155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mall picture + text">
    <p:spTree>
      <p:nvGrpSpPr>
        <p:cNvPr id="1" name=""/>
        <p:cNvGrpSpPr/>
        <p:nvPr/>
      </p:nvGrpSpPr>
      <p:grpSpPr>
        <a:xfrm>
          <a:off x="0" y="0"/>
          <a:ext cx="0" cy="0"/>
          <a:chOff x="0" y="0"/>
          <a:chExt cx="0" cy="0"/>
        </a:xfrm>
      </p:grpSpPr>
      <p:sp>
        <p:nvSpPr>
          <p:cNvPr id="9" name="Bild"/>
          <p:cNvSpPr>
            <a:spLocks noGrp="1" noChangeAspect="1"/>
          </p:cNvSpPr>
          <p:nvPr>
            <p:ph type="pic" sz="quarter" idx="12" hasCustomPrompt="1"/>
          </p:nvPr>
        </p:nvSpPr>
        <p:spPr bwMode="gray">
          <a:xfrm>
            <a:off x="550873" y="1558440"/>
            <a:ext cx="3600468"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19" name="Inhalt"/>
          <p:cNvSpPr>
            <a:spLocks noGrp="1"/>
          </p:cNvSpPr>
          <p:nvPr>
            <p:ph idx="15" hasCustomPrompt="1"/>
          </p:nvPr>
        </p:nvSpPr>
        <p:spPr bwMode="gray">
          <a:xfrm>
            <a:off x="4295767" y="1558440"/>
            <a:ext cx="7344956"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3" name="Fußzeilenplatzhalter 2">
            <a:extLst>
              <a:ext uri="{FF2B5EF4-FFF2-40B4-BE49-F238E27FC236}">
                <a16:creationId xmlns:a16="http://schemas.microsoft.com/office/drawing/2014/main" id="{C9E97503-4583-46C5-8FC3-7980FA097B8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B8AE6D6A-23BA-4992-A111-4E6AFB677E48}"/>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10" name="Text">
            <a:extLst>
              <a:ext uri="{FF2B5EF4-FFF2-40B4-BE49-F238E27FC236}">
                <a16:creationId xmlns:a16="http://schemas.microsoft.com/office/drawing/2014/main" id="{1F8BA6CE-A824-4B1B-94D2-F4ADFCDDC83C}"/>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1" name="Titel">
            <a:extLst>
              <a:ext uri="{FF2B5EF4-FFF2-40B4-BE49-F238E27FC236}">
                <a16:creationId xmlns:a16="http://schemas.microsoft.com/office/drawing/2014/main" id="{DC92B9F8-F6CB-4CD2-93A6-33857E08B4A0}"/>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F2AA8FD1-0E89-4A04-9433-1CFD35F261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84780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1" userDrawn="1">
          <p15:clr>
            <a:srgbClr val="FBAE40"/>
          </p15:clr>
        </p15:guide>
        <p15:guide id="2" pos="2616" userDrawn="1">
          <p15:clr>
            <a:srgbClr val="FBAE40"/>
          </p15:clr>
        </p15:guide>
        <p15:guide id="3" pos="2706" userDrawn="1">
          <p15:clr>
            <a:srgbClr val="FBAE40"/>
          </p15:clr>
        </p15:guide>
        <p15:guide id="4" orient="horz" pos="3839" userDrawn="1">
          <p15:clr>
            <a:srgbClr val="FBAE40"/>
          </p15:clr>
        </p15:guide>
        <p15:guide id="5" orient="horz" pos="3656" userDrawn="1">
          <p15:clr>
            <a:srgbClr val="FBAE40"/>
          </p15:clr>
        </p15:guide>
        <p15:guide id="6" orient="horz" pos="4065"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picture + text">
    <p:spTree>
      <p:nvGrpSpPr>
        <p:cNvPr id="1" name=""/>
        <p:cNvGrpSpPr/>
        <p:nvPr/>
      </p:nvGrpSpPr>
      <p:grpSpPr>
        <a:xfrm>
          <a:off x="0" y="0"/>
          <a:ext cx="0" cy="0"/>
          <a:chOff x="0" y="0"/>
          <a:chExt cx="0" cy="0"/>
        </a:xfrm>
      </p:grpSpPr>
      <p:sp>
        <p:nvSpPr>
          <p:cNvPr id="9" name="Bild"/>
          <p:cNvSpPr>
            <a:spLocks noGrp="1" noChangeAspect="1"/>
          </p:cNvSpPr>
          <p:nvPr>
            <p:ph type="pic" sz="quarter" idx="12" hasCustomPrompt="1"/>
          </p:nvPr>
        </p:nvSpPr>
        <p:spPr bwMode="gray">
          <a:xfrm>
            <a:off x="550873" y="1558440"/>
            <a:ext cx="7344956"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19" name="Inhalt"/>
          <p:cNvSpPr>
            <a:spLocks noGrp="1"/>
          </p:cNvSpPr>
          <p:nvPr>
            <p:ph idx="15" hasCustomPrompt="1"/>
          </p:nvPr>
        </p:nvSpPr>
        <p:spPr bwMode="gray">
          <a:xfrm>
            <a:off x="8040255" y="1558440"/>
            <a:ext cx="3600468"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3" name="Fußzeilenplatzhalter 2">
            <a:extLst>
              <a:ext uri="{FF2B5EF4-FFF2-40B4-BE49-F238E27FC236}">
                <a16:creationId xmlns:a16="http://schemas.microsoft.com/office/drawing/2014/main" id="{CF5A9644-34F8-4A46-B3C6-27FE5957861F}"/>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09638425-53EA-4854-89A4-1B7132AB5644}"/>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10" name="Text">
            <a:extLst>
              <a:ext uri="{FF2B5EF4-FFF2-40B4-BE49-F238E27FC236}">
                <a16:creationId xmlns:a16="http://schemas.microsoft.com/office/drawing/2014/main" id="{E659990F-EB11-460A-959F-4A1B1944606F}"/>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1" name="Titel">
            <a:extLst>
              <a:ext uri="{FF2B5EF4-FFF2-40B4-BE49-F238E27FC236}">
                <a16:creationId xmlns:a16="http://schemas.microsoft.com/office/drawing/2014/main" id="{7A3143E6-85D7-4DB0-8421-9168D9D173B8}"/>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044FD13F-5BBF-4F6A-8A5F-3D330BE15F5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488385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userDrawn="1">
          <p15:clr>
            <a:srgbClr val="FBAE40"/>
          </p15:clr>
        </p15:guide>
        <p15:guide id="2" pos="5064" userDrawn="1">
          <p15:clr>
            <a:srgbClr val="FBAE40"/>
          </p15:clr>
        </p15:guide>
        <p15:guide id="3" orient="horz" pos="3656" userDrawn="1">
          <p15:clr>
            <a:srgbClr val="FBAE40"/>
          </p15:clr>
        </p15:guide>
        <p15:guide id="4" orient="horz" pos="3839" userDrawn="1">
          <p15:clr>
            <a:srgbClr val="FBAE40"/>
          </p15:clr>
        </p15:guide>
        <p15:guide id="5" orient="horz" pos="406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large picture">
    <p:spTree>
      <p:nvGrpSpPr>
        <p:cNvPr id="1" name=""/>
        <p:cNvGrpSpPr/>
        <p:nvPr/>
      </p:nvGrpSpPr>
      <p:grpSpPr>
        <a:xfrm>
          <a:off x="0" y="0"/>
          <a:ext cx="0" cy="0"/>
          <a:chOff x="0" y="0"/>
          <a:chExt cx="0" cy="0"/>
        </a:xfrm>
      </p:grpSpPr>
      <p:sp>
        <p:nvSpPr>
          <p:cNvPr id="19" name="Inhalt"/>
          <p:cNvSpPr>
            <a:spLocks noGrp="1"/>
          </p:cNvSpPr>
          <p:nvPr>
            <p:ph idx="15" hasCustomPrompt="1"/>
          </p:nvPr>
        </p:nvSpPr>
        <p:spPr bwMode="gray">
          <a:xfrm>
            <a:off x="550873" y="1558440"/>
            <a:ext cx="3600468"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9" name="Bild"/>
          <p:cNvSpPr>
            <a:spLocks noGrp="1" noChangeAspect="1"/>
          </p:cNvSpPr>
          <p:nvPr>
            <p:ph type="pic" sz="quarter" idx="12" hasCustomPrompt="1"/>
          </p:nvPr>
        </p:nvSpPr>
        <p:spPr bwMode="gray">
          <a:xfrm>
            <a:off x="4295359" y="1558440"/>
            <a:ext cx="7344956"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3" name="Fußzeilenplatzhalter 2">
            <a:extLst>
              <a:ext uri="{FF2B5EF4-FFF2-40B4-BE49-F238E27FC236}">
                <a16:creationId xmlns:a16="http://schemas.microsoft.com/office/drawing/2014/main" id="{5EE81C02-51B8-48E7-86FA-BC45F23218CB}"/>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53E883FD-E3DE-4C93-A589-2E3E8228F9B3}"/>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10" name="Text">
            <a:extLst>
              <a:ext uri="{FF2B5EF4-FFF2-40B4-BE49-F238E27FC236}">
                <a16:creationId xmlns:a16="http://schemas.microsoft.com/office/drawing/2014/main" id="{1CA662B6-EB9D-49A7-A7CB-AB27054771ED}"/>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1" name="Titel">
            <a:extLst>
              <a:ext uri="{FF2B5EF4-FFF2-40B4-BE49-F238E27FC236}">
                <a16:creationId xmlns:a16="http://schemas.microsoft.com/office/drawing/2014/main" id="{F144CCE6-9A1F-42BD-B088-403EEEFF834F}"/>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C32320BA-40DE-4B26-BFD9-3A6F5A5352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9227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16" userDrawn="1">
          <p15:clr>
            <a:srgbClr val="FBAE40"/>
          </p15:clr>
        </p15:guide>
        <p15:guide id="2" pos="2706" userDrawn="1">
          <p15:clr>
            <a:srgbClr val="FBAE40"/>
          </p15:clr>
        </p15:guide>
        <p15:guide id="3" orient="horz" pos="3656" userDrawn="1">
          <p15:clr>
            <a:srgbClr val="FBAE40"/>
          </p15:clr>
        </p15:guide>
        <p15:guide id="4" orient="horz" pos="3839" userDrawn="1">
          <p15:clr>
            <a:srgbClr val="FBAE40"/>
          </p15:clr>
        </p15:guide>
        <p15:guide id="5" orient="horz" pos="406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19" name="Inhalt"/>
          <p:cNvSpPr>
            <a:spLocks noGrp="1"/>
          </p:cNvSpPr>
          <p:nvPr>
            <p:ph idx="15" hasCustomPrompt="1"/>
          </p:nvPr>
        </p:nvSpPr>
        <p:spPr bwMode="gray">
          <a:xfrm>
            <a:off x="550873" y="1558440"/>
            <a:ext cx="5439228"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11" name="Bild">
            <a:extLst>
              <a:ext uri="{FF2B5EF4-FFF2-40B4-BE49-F238E27FC236}">
                <a16:creationId xmlns:a16="http://schemas.microsoft.com/office/drawing/2014/main" id="{6C76F67B-D496-416E-BA47-B89CA75F8701}"/>
              </a:ext>
            </a:extLst>
          </p:cNvPr>
          <p:cNvSpPr>
            <a:spLocks noGrp="1" noChangeAspect="1"/>
          </p:cNvSpPr>
          <p:nvPr>
            <p:ph type="pic" sz="quarter" idx="12" hasCustomPrompt="1"/>
          </p:nvPr>
        </p:nvSpPr>
        <p:spPr bwMode="gray">
          <a:xfrm>
            <a:off x="6200717" y="1558440"/>
            <a:ext cx="5439600"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3" name="Fußzeilenplatzhalter 2">
            <a:extLst>
              <a:ext uri="{FF2B5EF4-FFF2-40B4-BE49-F238E27FC236}">
                <a16:creationId xmlns:a16="http://schemas.microsoft.com/office/drawing/2014/main" id="{A726E3EC-2BB8-4B2D-9395-F9CEC419411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0D7BFE43-2445-4D80-80C9-91150418C372}"/>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9" name="Text">
            <a:extLst>
              <a:ext uri="{FF2B5EF4-FFF2-40B4-BE49-F238E27FC236}">
                <a16:creationId xmlns:a16="http://schemas.microsoft.com/office/drawing/2014/main" id="{7EBF18DA-B696-4EF3-9C4D-B076682693FB}"/>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0" name="Titel">
            <a:extLst>
              <a:ext uri="{FF2B5EF4-FFF2-40B4-BE49-F238E27FC236}">
                <a16:creationId xmlns:a16="http://schemas.microsoft.com/office/drawing/2014/main" id="{D5F22DDC-3F9B-4866-9E64-FD42CECDA2D1}"/>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5D6A2920-BE63-4169-8F6F-DC0CD8FDE0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32758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3772" userDrawn="1">
          <p15:clr>
            <a:srgbClr val="FBAE40"/>
          </p15:clr>
        </p15:guide>
        <p15:guide id="4" pos="3908" userDrawn="1">
          <p15:clr>
            <a:srgbClr val="FBAE40"/>
          </p15:clr>
        </p15:guide>
        <p15:guide id="5" orient="horz" pos="3656" userDrawn="1">
          <p15:clr>
            <a:srgbClr val="FBAE40"/>
          </p15:clr>
        </p15:guide>
        <p15:guide id="6" orient="horz" pos="3839" userDrawn="1">
          <p15:clr>
            <a:srgbClr val="FBAE40"/>
          </p15:clr>
        </p15:guide>
        <p15:guide id="7" orient="horz" pos="4065"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text">
    <p:spTree>
      <p:nvGrpSpPr>
        <p:cNvPr id="1" name=""/>
        <p:cNvGrpSpPr/>
        <p:nvPr/>
      </p:nvGrpSpPr>
      <p:grpSpPr>
        <a:xfrm>
          <a:off x="0" y="0"/>
          <a:ext cx="0" cy="0"/>
          <a:chOff x="0" y="0"/>
          <a:chExt cx="0" cy="0"/>
        </a:xfrm>
      </p:grpSpPr>
      <p:sp>
        <p:nvSpPr>
          <p:cNvPr id="19" name="Inhalt"/>
          <p:cNvSpPr>
            <a:spLocks noGrp="1"/>
          </p:cNvSpPr>
          <p:nvPr>
            <p:ph idx="15" hasCustomPrompt="1"/>
          </p:nvPr>
        </p:nvSpPr>
        <p:spPr bwMode="gray">
          <a:xfrm>
            <a:off x="550873" y="1558440"/>
            <a:ext cx="5439228"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9" name="Inhalt">
            <a:extLst>
              <a:ext uri="{FF2B5EF4-FFF2-40B4-BE49-F238E27FC236}">
                <a16:creationId xmlns:a16="http://schemas.microsoft.com/office/drawing/2014/main" id="{E13A8C2B-1D50-4433-9FAA-F76ED8DBEFB2}"/>
              </a:ext>
            </a:extLst>
          </p:cNvPr>
          <p:cNvSpPr>
            <a:spLocks noGrp="1"/>
          </p:cNvSpPr>
          <p:nvPr>
            <p:ph idx="19" hasCustomPrompt="1"/>
          </p:nvPr>
        </p:nvSpPr>
        <p:spPr bwMode="gray">
          <a:xfrm>
            <a:off x="6201089" y="1558440"/>
            <a:ext cx="5439228" cy="4247016"/>
          </a:xfrm>
          <a:prstGeom prst="rect">
            <a:avLst/>
          </a:prstGeom>
        </p:spPr>
        <p:txBody>
          <a:bodyPr vert="horz" lIns="0" tIns="72000" rIns="0" bIns="72000" rtlCol="0">
            <a:noAutofit/>
          </a:bodyPr>
          <a:lstStyle>
            <a:lvl1pPr>
              <a:defRPr lang="de-DE" dirty="0" smtClean="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lvl="0"/>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3" name="Fußzeilenplatzhalter 2">
            <a:extLst>
              <a:ext uri="{FF2B5EF4-FFF2-40B4-BE49-F238E27FC236}">
                <a16:creationId xmlns:a16="http://schemas.microsoft.com/office/drawing/2014/main" id="{4138BCD2-F45E-4BC7-A9B2-4D0D43994AB0}"/>
              </a:ext>
            </a:extLst>
          </p:cNvPr>
          <p:cNvSpPr>
            <a:spLocks noGrp="1"/>
          </p:cNvSpPr>
          <p:nvPr>
            <p:ph type="ftr" sz="quarter" idx="20"/>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AD79AC05-5D66-4FA4-90E9-AD828D5F7759}"/>
              </a:ext>
            </a:extLst>
          </p:cNvPr>
          <p:cNvSpPr>
            <a:spLocks noGrp="1"/>
          </p:cNvSpPr>
          <p:nvPr>
            <p:ph type="sldNum" sz="quarter" idx="21"/>
          </p:nvPr>
        </p:nvSpPr>
        <p:spPr/>
        <p:txBody>
          <a:bodyPr/>
          <a:lstStyle/>
          <a:p>
            <a:fld id="{B227C86F-CC2D-492F-A88C-C748186E73FB}" type="slidenum">
              <a:rPr lang="de-DE" smtClean="0"/>
              <a:pPr/>
              <a:t>‹#›</a:t>
            </a:fld>
            <a:endParaRPr lang="de-DE" dirty="0"/>
          </a:p>
        </p:txBody>
      </p:sp>
      <p:sp>
        <p:nvSpPr>
          <p:cNvPr id="10" name="Text">
            <a:extLst>
              <a:ext uri="{FF2B5EF4-FFF2-40B4-BE49-F238E27FC236}">
                <a16:creationId xmlns:a16="http://schemas.microsoft.com/office/drawing/2014/main" id="{9AF81194-EFE5-4A46-B912-76BBCCD389AB}"/>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1" name="Titel">
            <a:extLst>
              <a:ext uri="{FF2B5EF4-FFF2-40B4-BE49-F238E27FC236}">
                <a16:creationId xmlns:a16="http://schemas.microsoft.com/office/drawing/2014/main" id="{BCB9F442-A60C-45E6-842B-64928BAD63F4}"/>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B9888159-ABCF-4CC5-BF03-940DAEF41A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401240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1">
          <p15:clr>
            <a:srgbClr val="FBAE40"/>
          </p15:clr>
        </p15:guide>
        <p15:guide id="3" pos="3772">
          <p15:clr>
            <a:srgbClr val="FBAE40"/>
          </p15:clr>
        </p15:guide>
        <p15:guide id="4" pos="3908">
          <p15:clr>
            <a:srgbClr val="FBAE40"/>
          </p15:clr>
        </p15:guide>
        <p15:guide id="5" orient="horz" pos="3656">
          <p15:clr>
            <a:srgbClr val="FBAE40"/>
          </p15:clr>
        </p15:guide>
        <p15:guide id="6" orient="horz" pos="3839">
          <p15:clr>
            <a:srgbClr val="FBAE40"/>
          </p15:clr>
        </p15:guide>
        <p15:guide id="7" orient="horz" pos="406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and diagramm only">
    <p:spTree>
      <p:nvGrpSpPr>
        <p:cNvPr id="1" name=""/>
        <p:cNvGrpSpPr/>
        <p:nvPr/>
      </p:nvGrpSpPr>
      <p:grpSpPr>
        <a:xfrm>
          <a:off x="0" y="0"/>
          <a:ext cx="0" cy="0"/>
          <a:chOff x="0" y="0"/>
          <a:chExt cx="0" cy="0"/>
        </a:xfrm>
      </p:grpSpPr>
      <p:sp>
        <p:nvSpPr>
          <p:cNvPr id="7" name="Inhalt">
            <a:extLst>
              <a:ext uri="{FF2B5EF4-FFF2-40B4-BE49-F238E27FC236}">
                <a16:creationId xmlns:a16="http://schemas.microsoft.com/office/drawing/2014/main" id="{B65CDCCB-D385-4629-B4A8-5C15E42CDDF8}"/>
              </a:ext>
            </a:extLst>
          </p:cNvPr>
          <p:cNvSpPr>
            <a:spLocks noGrp="1"/>
          </p:cNvSpPr>
          <p:nvPr>
            <p:ph idx="17" hasCustomPrompt="1"/>
          </p:nvPr>
        </p:nvSpPr>
        <p:spPr bwMode="gray">
          <a:xfrm>
            <a:off x="550873" y="1558440"/>
            <a:ext cx="11089444" cy="4247016"/>
          </a:xfrm>
          <a:prstGeom prst="rect">
            <a:avLst/>
          </a:prstGeom>
        </p:spPr>
        <p:txBody>
          <a:bodyPr vert="horz" lIns="0" tIns="72000" rIns="0" bIns="72000" rtlCol="0">
            <a:noAutofit/>
          </a:bodyPr>
          <a:lstStyle>
            <a:lvl1pPr marL="270009" marR="0" indent="-270009"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Char char="§"/>
              <a:tabLst/>
              <a:defRPr lang="de-DE" baseline="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marL="270009" marR="0" lvl="0" indent="-270009"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Char char="§"/>
              <a:tabLst/>
              <a:defRPr/>
            </a:pPr>
            <a:r>
              <a:rPr lang="de-DE" noProof="0" dirty="0" err="1"/>
              <a:t>Diagram</a:t>
            </a:r>
            <a:r>
              <a:rPr lang="de-DE" noProof="0" dirty="0"/>
              <a:t>, </a:t>
            </a:r>
            <a:r>
              <a:rPr lang="de-DE" noProof="0" dirty="0" err="1"/>
              <a:t>smartart</a:t>
            </a:r>
            <a:r>
              <a:rPr lang="de-DE" noProof="0" dirty="0"/>
              <a:t> </a:t>
            </a:r>
            <a:r>
              <a:rPr lang="de-DE" noProof="0" dirty="0" err="1"/>
              <a:t>or</a:t>
            </a:r>
            <a:r>
              <a:rPr lang="de-DE" noProof="0" dirty="0"/>
              <a:t> </a:t>
            </a:r>
            <a:r>
              <a:rPr lang="de-DE" noProof="0" dirty="0" err="1"/>
              <a:t>table</a:t>
            </a:r>
            <a:endParaRPr lang="de-DE" noProof="0" dirty="0"/>
          </a:p>
        </p:txBody>
      </p:sp>
      <p:sp>
        <p:nvSpPr>
          <p:cNvPr id="3" name="Fußzeilenplatzhalter 2">
            <a:extLst>
              <a:ext uri="{FF2B5EF4-FFF2-40B4-BE49-F238E27FC236}">
                <a16:creationId xmlns:a16="http://schemas.microsoft.com/office/drawing/2014/main" id="{5F236C92-5072-4156-B338-289715BC0B94}"/>
              </a:ext>
            </a:extLst>
          </p:cNvPr>
          <p:cNvSpPr>
            <a:spLocks noGrp="1"/>
          </p:cNvSpPr>
          <p:nvPr>
            <p:ph type="ftr" sz="quarter" idx="18"/>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EBAA718-3FE8-4274-9C3D-9DBF5E3E582A}"/>
              </a:ext>
            </a:extLst>
          </p:cNvPr>
          <p:cNvSpPr>
            <a:spLocks noGrp="1"/>
          </p:cNvSpPr>
          <p:nvPr>
            <p:ph type="sldNum" sz="quarter" idx="19"/>
          </p:nvPr>
        </p:nvSpPr>
        <p:spPr/>
        <p:txBody>
          <a:bodyPr/>
          <a:lstStyle/>
          <a:p>
            <a:fld id="{B227C86F-CC2D-492F-A88C-C748186E73FB}" type="slidenum">
              <a:rPr lang="de-DE" smtClean="0"/>
              <a:pPr/>
              <a:t>‹#›</a:t>
            </a:fld>
            <a:endParaRPr lang="de-DE" dirty="0"/>
          </a:p>
        </p:txBody>
      </p:sp>
      <p:sp>
        <p:nvSpPr>
          <p:cNvPr id="8" name="Text">
            <a:extLst>
              <a:ext uri="{FF2B5EF4-FFF2-40B4-BE49-F238E27FC236}">
                <a16:creationId xmlns:a16="http://schemas.microsoft.com/office/drawing/2014/main" id="{0199573A-A452-4E88-B98C-E09E4306CFEE}"/>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0" name="Titel">
            <a:extLst>
              <a:ext uri="{FF2B5EF4-FFF2-40B4-BE49-F238E27FC236}">
                <a16:creationId xmlns:a16="http://schemas.microsoft.com/office/drawing/2014/main" id="{40B4288E-7AEF-4FB0-A708-E06A280BBC3D}"/>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1" name="Grafik 10">
            <a:extLst>
              <a:ext uri="{FF2B5EF4-FFF2-40B4-BE49-F238E27FC236}">
                <a16:creationId xmlns:a16="http://schemas.microsoft.com/office/drawing/2014/main" id="{9BA917CE-B5F2-4CF8-B0DC-66B60C63A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143881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56" userDrawn="1">
          <p15:clr>
            <a:srgbClr val="FBAE40"/>
          </p15:clr>
        </p15:guide>
        <p15:guide id="2" orient="horz" pos="3839" userDrawn="1">
          <p15:clr>
            <a:srgbClr val="FBAE40"/>
          </p15:clr>
        </p15:guide>
        <p15:guide id="3" orient="horz" pos="4065"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Bild 1"/>
          <p:cNvSpPr>
            <a:spLocks noGrp="1" noChangeAspect="1"/>
          </p:cNvSpPr>
          <p:nvPr>
            <p:ph type="pic" sz="quarter" idx="12" hasCustomPrompt="1"/>
          </p:nvPr>
        </p:nvSpPr>
        <p:spPr bwMode="gray">
          <a:xfrm>
            <a:off x="0" y="0"/>
            <a:ext cx="6096001" cy="6858000"/>
          </a:xfrm>
          <a:prstGeom prst="rect">
            <a:avLst/>
          </a:prstGeom>
          <a:solidFill>
            <a:schemeClr val="bg1">
              <a:lumMod val="95000"/>
            </a:schemeClr>
          </a:solidFill>
        </p:spPr>
        <p:txBody>
          <a:bodyPr vert="horz" lIns="252000" tIns="252000" rIns="252000" bIns="252000" rtlCol="0" anchor="ctr" anchorCtr="0">
            <a:noAutofit/>
          </a:bodyPr>
          <a:lstStyle>
            <a:lvl1pPr marL="285759" indent="-285759" algn="ctr">
              <a:buNone/>
              <a:defRPr lang="de-DE" dirty="0"/>
            </a:lvl1pPr>
          </a:lstStyle>
          <a:p>
            <a:r>
              <a:rPr lang="de-DE" noProof="0" dirty="0"/>
              <a:t>Picture</a:t>
            </a:r>
          </a:p>
        </p:txBody>
      </p:sp>
      <p:pic>
        <p:nvPicPr>
          <p:cNvPr id="6" name="Grafik 5">
            <a:extLst>
              <a:ext uri="{FF2B5EF4-FFF2-40B4-BE49-F238E27FC236}">
                <a16:creationId xmlns:a16="http://schemas.microsoft.com/office/drawing/2014/main" id="{508A24D7-6B3F-49CF-BA12-1923C901FA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
        <p:nvSpPr>
          <p:cNvPr id="7" name="Titel">
            <a:extLst>
              <a:ext uri="{FF2B5EF4-FFF2-40B4-BE49-F238E27FC236}">
                <a16:creationId xmlns:a16="http://schemas.microsoft.com/office/drawing/2014/main" id="{3D452C74-BB74-46D4-B3FB-A74E2CF15A31}"/>
              </a:ext>
            </a:extLst>
          </p:cNvPr>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1" name="Titel">
            <a:extLst>
              <a:ext uri="{FF2B5EF4-FFF2-40B4-BE49-F238E27FC236}">
                <a16:creationId xmlns:a16="http://schemas.microsoft.com/office/drawing/2014/main" id="{472C2621-DA66-423F-9AD5-1E1514C3E2D8}"/>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err="1">
                <a:solidFill>
                  <a:schemeClr val="accent1"/>
                </a:solidFill>
                <a:latin typeface="+mn-lt"/>
              </a:rPr>
              <a:t>Thank</a:t>
            </a:r>
            <a:r>
              <a:rPr lang="de-DE" sz="2800" b="0" dirty="0">
                <a:solidFill>
                  <a:schemeClr val="accent1"/>
                </a:solidFill>
                <a:latin typeface="+mn-lt"/>
              </a:rPr>
              <a:t> </a:t>
            </a:r>
            <a:r>
              <a:rPr lang="de-DE" sz="2800" b="0" dirty="0" err="1">
                <a:solidFill>
                  <a:schemeClr val="accent1"/>
                </a:solidFill>
                <a:latin typeface="+mn-lt"/>
              </a:rPr>
              <a:t>you</a:t>
            </a:r>
            <a:endParaRPr lang="de-DE" sz="2800" b="0" dirty="0">
              <a:solidFill>
                <a:schemeClr val="accent1"/>
              </a:solidFill>
              <a:latin typeface="+mn-lt"/>
            </a:endParaRPr>
          </a:p>
        </p:txBody>
      </p:sp>
      <p:pic>
        <p:nvPicPr>
          <p:cNvPr id="13" name="Grafik 12">
            <a:extLst>
              <a:ext uri="{FF2B5EF4-FFF2-40B4-BE49-F238E27FC236}">
                <a16:creationId xmlns:a16="http://schemas.microsoft.com/office/drawing/2014/main" id="{06F66B2E-92D4-4B70-9321-CF28BCD4F88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sp>
        <p:nvSpPr>
          <p:cNvPr id="9" name="Textplatzhalter 2">
            <a:extLst>
              <a:ext uri="{FF2B5EF4-FFF2-40B4-BE49-F238E27FC236}">
                <a16:creationId xmlns:a16="http://schemas.microsoft.com/office/drawing/2014/main" id="{61EF7B8F-D8BA-4797-8ACE-ACFE8E548DAD}"/>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240287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429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optional 1">
    <p:spTree>
      <p:nvGrpSpPr>
        <p:cNvPr id="1" name=""/>
        <p:cNvGrpSpPr/>
        <p:nvPr/>
      </p:nvGrpSpPr>
      <p:grpSpPr>
        <a:xfrm>
          <a:off x="0" y="0"/>
          <a:ext cx="0" cy="0"/>
          <a:chOff x="0" y="0"/>
          <a:chExt cx="0" cy="0"/>
        </a:xfrm>
      </p:grpSpPr>
      <p:sp>
        <p:nvSpPr>
          <p:cNvPr id="5" name="Titel"/>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0" name="Titel">
            <a:extLst>
              <a:ext uri="{FF2B5EF4-FFF2-40B4-BE49-F238E27FC236}">
                <a16:creationId xmlns:a16="http://schemas.microsoft.com/office/drawing/2014/main" id="{272B44CE-A6EA-40E1-91C9-6175AFA6AFAC}"/>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a:solidFill>
                  <a:schemeClr val="accent1"/>
                </a:solidFill>
                <a:latin typeface="+mn-lt"/>
              </a:rPr>
              <a:t>Welcome</a:t>
            </a:r>
          </a:p>
        </p:txBody>
      </p:sp>
      <p:pic>
        <p:nvPicPr>
          <p:cNvPr id="14" name="Grafik 13">
            <a:extLst>
              <a:ext uri="{FF2B5EF4-FFF2-40B4-BE49-F238E27FC236}">
                <a16:creationId xmlns:a16="http://schemas.microsoft.com/office/drawing/2014/main" id="{6B251ABE-24A7-482F-9DB8-0614019A4B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pic>
        <p:nvPicPr>
          <p:cNvPr id="12" name="Grafik 11">
            <a:extLst>
              <a:ext uri="{FF2B5EF4-FFF2-40B4-BE49-F238E27FC236}">
                <a16:creationId xmlns:a16="http://schemas.microsoft.com/office/drawing/2014/main" id="{2C6EED3B-95A0-4399-A7DD-A3ACEE049E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pic>
        <p:nvPicPr>
          <p:cNvPr id="11" name="Bildplatzhalter 13" descr="Ein Bild, das draußen, Outdoorobjekt, Stern, Nachthimmel enthält.&#10;&#10;Automatisch generierte Beschreibung">
            <a:extLst>
              <a:ext uri="{FF2B5EF4-FFF2-40B4-BE49-F238E27FC236}">
                <a16:creationId xmlns:a16="http://schemas.microsoft.com/office/drawing/2014/main" id="{BF58CAF6-1C60-4D1C-B117-481B950DB26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9618" r="19618"/>
          <a:stretch>
            <a:fillRect/>
          </a:stretch>
        </p:blipFill>
        <p:spPr bwMode="gray">
          <a:xfrm>
            <a:off x="0" y="0"/>
            <a:ext cx="6095999" cy="6858000"/>
          </a:xfrm>
          <a:prstGeom prst="rect">
            <a:avLst/>
          </a:prstGeom>
        </p:spPr>
      </p:pic>
      <p:pic>
        <p:nvPicPr>
          <p:cNvPr id="13" name="Grafik 12">
            <a:extLst>
              <a:ext uri="{FF2B5EF4-FFF2-40B4-BE49-F238E27FC236}">
                <a16:creationId xmlns:a16="http://schemas.microsoft.com/office/drawing/2014/main" id="{77864B38-4D6D-4255-BD0E-C47B4D1A361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95693" y="500255"/>
            <a:ext cx="4860476" cy="407795"/>
          </a:xfrm>
          <a:prstGeom prst="rect">
            <a:avLst/>
          </a:prstGeom>
        </p:spPr>
      </p:pic>
      <p:sp>
        <p:nvSpPr>
          <p:cNvPr id="9" name="Textplatzhalter 2">
            <a:extLst>
              <a:ext uri="{FF2B5EF4-FFF2-40B4-BE49-F238E27FC236}">
                <a16:creationId xmlns:a16="http://schemas.microsoft.com/office/drawing/2014/main" id="{D396549A-E7C9-40F0-84CE-78B76ED36DD2}"/>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45334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94" userDrawn="1">
          <p15:clr>
            <a:srgbClr val="FBAE40"/>
          </p15:clr>
        </p15:guide>
        <p15:guide id="2" pos="526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optional 1">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08A24D7-6B3F-49CF-BA12-1923C901FA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
        <p:nvSpPr>
          <p:cNvPr id="7" name="Titel">
            <a:extLst>
              <a:ext uri="{FF2B5EF4-FFF2-40B4-BE49-F238E27FC236}">
                <a16:creationId xmlns:a16="http://schemas.microsoft.com/office/drawing/2014/main" id="{3D452C74-BB74-46D4-B3FB-A74E2CF15A31}"/>
              </a:ext>
            </a:extLst>
          </p:cNvPr>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1" name="Titel">
            <a:extLst>
              <a:ext uri="{FF2B5EF4-FFF2-40B4-BE49-F238E27FC236}">
                <a16:creationId xmlns:a16="http://schemas.microsoft.com/office/drawing/2014/main" id="{472C2621-DA66-423F-9AD5-1E1514C3E2D8}"/>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err="1">
                <a:solidFill>
                  <a:schemeClr val="accent1"/>
                </a:solidFill>
                <a:latin typeface="+mn-lt"/>
              </a:rPr>
              <a:t>Thank</a:t>
            </a:r>
            <a:r>
              <a:rPr lang="de-DE" sz="2800" b="0" dirty="0">
                <a:solidFill>
                  <a:schemeClr val="accent1"/>
                </a:solidFill>
                <a:latin typeface="+mn-lt"/>
              </a:rPr>
              <a:t> </a:t>
            </a:r>
            <a:r>
              <a:rPr lang="de-DE" sz="2800" b="0" dirty="0" err="1">
                <a:solidFill>
                  <a:schemeClr val="accent1"/>
                </a:solidFill>
                <a:latin typeface="+mn-lt"/>
              </a:rPr>
              <a:t>you</a:t>
            </a:r>
            <a:endParaRPr lang="de-DE" sz="2800" b="0" dirty="0">
              <a:solidFill>
                <a:schemeClr val="accent1"/>
              </a:solidFill>
              <a:latin typeface="+mn-lt"/>
            </a:endParaRPr>
          </a:p>
        </p:txBody>
      </p:sp>
      <p:pic>
        <p:nvPicPr>
          <p:cNvPr id="13" name="Grafik 12">
            <a:extLst>
              <a:ext uri="{FF2B5EF4-FFF2-40B4-BE49-F238E27FC236}">
                <a16:creationId xmlns:a16="http://schemas.microsoft.com/office/drawing/2014/main" id="{06F66B2E-92D4-4B70-9321-CF28BCD4F88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pic>
        <p:nvPicPr>
          <p:cNvPr id="9" name="Bildplatzhalter 13" descr="Ein Bild, das draußen, Outdoorobjekt, Stern, Nachthimmel enthält.&#10;&#10;Automatisch generierte Beschreibung">
            <a:extLst>
              <a:ext uri="{FF2B5EF4-FFF2-40B4-BE49-F238E27FC236}">
                <a16:creationId xmlns:a16="http://schemas.microsoft.com/office/drawing/2014/main" id="{7A6649C6-389F-4D2C-9E13-936F0B6EFA7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l="19618" r="19618"/>
          <a:stretch>
            <a:fillRect/>
          </a:stretch>
        </p:blipFill>
        <p:spPr bwMode="gray">
          <a:xfrm>
            <a:off x="0" y="0"/>
            <a:ext cx="6095999" cy="6858000"/>
          </a:xfrm>
          <a:prstGeom prst="rect">
            <a:avLst/>
          </a:prstGeom>
        </p:spPr>
      </p:pic>
      <p:pic>
        <p:nvPicPr>
          <p:cNvPr id="12" name="Grafik 11">
            <a:extLst>
              <a:ext uri="{FF2B5EF4-FFF2-40B4-BE49-F238E27FC236}">
                <a16:creationId xmlns:a16="http://schemas.microsoft.com/office/drawing/2014/main" id="{9AD9D43C-8414-43ED-BBC4-BC31BF02FC6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95693" y="500255"/>
            <a:ext cx="4860476" cy="407795"/>
          </a:xfrm>
          <a:prstGeom prst="rect">
            <a:avLst/>
          </a:prstGeom>
        </p:spPr>
      </p:pic>
      <p:sp>
        <p:nvSpPr>
          <p:cNvPr id="14" name="Textplatzhalter 2">
            <a:extLst>
              <a:ext uri="{FF2B5EF4-FFF2-40B4-BE49-F238E27FC236}">
                <a16:creationId xmlns:a16="http://schemas.microsoft.com/office/drawing/2014/main" id="{89F5583D-46AD-4BD4-BAFD-F5E00BED4253}"/>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231191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429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optional 2">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08A24D7-6B3F-49CF-BA12-1923C901FA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
        <p:nvSpPr>
          <p:cNvPr id="7" name="Titel">
            <a:extLst>
              <a:ext uri="{FF2B5EF4-FFF2-40B4-BE49-F238E27FC236}">
                <a16:creationId xmlns:a16="http://schemas.microsoft.com/office/drawing/2014/main" id="{3D452C74-BB74-46D4-B3FB-A74E2CF15A31}"/>
              </a:ext>
            </a:extLst>
          </p:cNvPr>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1" name="Titel">
            <a:extLst>
              <a:ext uri="{FF2B5EF4-FFF2-40B4-BE49-F238E27FC236}">
                <a16:creationId xmlns:a16="http://schemas.microsoft.com/office/drawing/2014/main" id="{472C2621-DA66-423F-9AD5-1E1514C3E2D8}"/>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err="1">
                <a:solidFill>
                  <a:schemeClr val="accent1"/>
                </a:solidFill>
                <a:latin typeface="+mn-lt"/>
              </a:rPr>
              <a:t>Thank</a:t>
            </a:r>
            <a:r>
              <a:rPr lang="de-DE" sz="2800" b="0" dirty="0">
                <a:solidFill>
                  <a:schemeClr val="accent1"/>
                </a:solidFill>
                <a:latin typeface="+mn-lt"/>
              </a:rPr>
              <a:t> </a:t>
            </a:r>
            <a:r>
              <a:rPr lang="de-DE" sz="2800" b="0" dirty="0" err="1">
                <a:solidFill>
                  <a:schemeClr val="accent1"/>
                </a:solidFill>
                <a:latin typeface="+mn-lt"/>
              </a:rPr>
              <a:t>you</a:t>
            </a:r>
            <a:endParaRPr lang="de-DE" sz="2800" b="0" dirty="0">
              <a:solidFill>
                <a:schemeClr val="accent1"/>
              </a:solidFill>
              <a:latin typeface="+mn-lt"/>
            </a:endParaRPr>
          </a:p>
        </p:txBody>
      </p:sp>
      <p:pic>
        <p:nvPicPr>
          <p:cNvPr id="13" name="Grafik 12">
            <a:extLst>
              <a:ext uri="{FF2B5EF4-FFF2-40B4-BE49-F238E27FC236}">
                <a16:creationId xmlns:a16="http://schemas.microsoft.com/office/drawing/2014/main" id="{06F66B2E-92D4-4B70-9321-CF28BCD4F88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pic>
        <p:nvPicPr>
          <p:cNvPr id="9" name="Grafik 8" descr="Ein Bild, das Text, Himmel, draußen, Gras enthält.&#10;&#10;Automatisch generierte Beschreibung">
            <a:extLst>
              <a:ext uri="{FF2B5EF4-FFF2-40B4-BE49-F238E27FC236}">
                <a16:creationId xmlns:a16="http://schemas.microsoft.com/office/drawing/2014/main" id="{A8D6E47F-C94A-44EF-9E79-771A8E4A101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240" t="4042" r="10961" b="561"/>
          <a:stretch/>
        </p:blipFill>
        <p:spPr>
          <a:xfrm>
            <a:off x="-2" y="0"/>
            <a:ext cx="6096002" cy="6858000"/>
          </a:xfrm>
          <a:prstGeom prst="rect">
            <a:avLst/>
          </a:prstGeom>
        </p:spPr>
      </p:pic>
      <p:sp>
        <p:nvSpPr>
          <p:cNvPr id="8" name="Textplatzhalter 2">
            <a:extLst>
              <a:ext uri="{FF2B5EF4-FFF2-40B4-BE49-F238E27FC236}">
                <a16:creationId xmlns:a16="http://schemas.microsoft.com/office/drawing/2014/main" id="{89BACD32-4F26-4534-B58A-2C31C3FF4C76}"/>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181583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guide id="3" pos="429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 optional 2">
    <p:spTree>
      <p:nvGrpSpPr>
        <p:cNvPr id="1" name=""/>
        <p:cNvGrpSpPr/>
        <p:nvPr/>
      </p:nvGrpSpPr>
      <p:grpSpPr>
        <a:xfrm>
          <a:off x="0" y="0"/>
          <a:ext cx="0" cy="0"/>
          <a:chOff x="0" y="0"/>
          <a:chExt cx="0" cy="0"/>
        </a:xfrm>
      </p:grpSpPr>
      <p:sp>
        <p:nvSpPr>
          <p:cNvPr id="5" name="Titel"/>
          <p:cNvSpPr>
            <a:spLocks noGrp="1"/>
          </p:cNvSpPr>
          <p:nvPr>
            <p:ph type="title" hasCustomPrompt="1"/>
          </p:nvPr>
        </p:nvSpPr>
        <p:spPr bwMode="gray">
          <a:xfrm>
            <a:off x="6096001" y="3303918"/>
            <a:ext cx="5542790" cy="2501570"/>
          </a:xfrm>
        </p:spPr>
        <p:txBody>
          <a:bodyPr lIns="720000"/>
          <a:lstStyle>
            <a:lvl1pPr>
              <a:defRPr sz="4000" b="1">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br>
              <a:rPr lang="de-DE" noProof="0" dirty="0"/>
            </a:br>
            <a:endParaRPr lang="de-DE" noProof="0" dirty="0"/>
          </a:p>
        </p:txBody>
      </p:sp>
      <p:sp>
        <p:nvSpPr>
          <p:cNvPr id="10" name="Titel">
            <a:extLst>
              <a:ext uri="{FF2B5EF4-FFF2-40B4-BE49-F238E27FC236}">
                <a16:creationId xmlns:a16="http://schemas.microsoft.com/office/drawing/2014/main" id="{272B44CE-A6EA-40E1-91C9-6175AFA6AFAC}"/>
              </a:ext>
            </a:extLst>
          </p:cNvPr>
          <p:cNvSpPr txBox="1">
            <a:spLocks/>
          </p:cNvSpPr>
          <p:nvPr userDrawn="1"/>
        </p:nvSpPr>
        <p:spPr bwMode="gray">
          <a:xfrm>
            <a:off x="6096000" y="2741903"/>
            <a:ext cx="5542791" cy="847379"/>
          </a:xfrm>
          <a:prstGeom prst="rect">
            <a:avLst/>
          </a:prstGeom>
        </p:spPr>
        <p:txBody>
          <a:bodyPr vert="horz" lIns="720000" tIns="0" rIns="0" bIns="0" rtlCol="0" anchor="t">
            <a:noAutofit/>
          </a:bodyPr>
          <a:lstStyle>
            <a:lvl1pPr algn="l" defTabSz="914430" rtl="0" eaLnBrk="1" latinLnBrk="0" hangingPunct="1">
              <a:spcBef>
                <a:spcPct val="0"/>
              </a:spcBef>
              <a:buNone/>
              <a:defRPr sz="2799" b="1" kern="1200">
                <a:solidFill>
                  <a:schemeClr val="tx1"/>
                </a:solidFill>
                <a:latin typeface="+mj-lt"/>
                <a:ea typeface="+mj-ea"/>
                <a:cs typeface="+mj-cs"/>
              </a:defRPr>
            </a:lvl1pPr>
          </a:lstStyle>
          <a:p>
            <a:r>
              <a:rPr lang="de-DE" sz="2800" b="0" dirty="0">
                <a:solidFill>
                  <a:schemeClr val="accent1"/>
                </a:solidFill>
                <a:latin typeface="+mn-lt"/>
              </a:rPr>
              <a:t>Welcome</a:t>
            </a:r>
          </a:p>
        </p:txBody>
      </p:sp>
      <p:pic>
        <p:nvPicPr>
          <p:cNvPr id="14" name="Grafik 13">
            <a:extLst>
              <a:ext uri="{FF2B5EF4-FFF2-40B4-BE49-F238E27FC236}">
                <a16:creationId xmlns:a16="http://schemas.microsoft.com/office/drawing/2014/main" id="{6B251ABE-24A7-482F-9DB8-0614019A4B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pic>
        <p:nvPicPr>
          <p:cNvPr id="12" name="Grafik 11">
            <a:extLst>
              <a:ext uri="{FF2B5EF4-FFF2-40B4-BE49-F238E27FC236}">
                <a16:creationId xmlns:a16="http://schemas.microsoft.com/office/drawing/2014/main" id="{2C6EED3B-95A0-4399-A7DD-A3ACEE049E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776085" y="1566441"/>
            <a:ext cx="2484755" cy="661317"/>
          </a:xfrm>
          <a:prstGeom prst="rect">
            <a:avLst/>
          </a:prstGeom>
        </p:spPr>
      </p:pic>
      <p:pic>
        <p:nvPicPr>
          <p:cNvPr id="9" name="Grafik 8" descr="Ein Bild, das Text, Himmel, draußen, Gras enthält.&#10;&#10;Automatisch generierte Beschreibung">
            <a:extLst>
              <a:ext uri="{FF2B5EF4-FFF2-40B4-BE49-F238E27FC236}">
                <a16:creationId xmlns:a16="http://schemas.microsoft.com/office/drawing/2014/main" id="{705DC727-EB52-4053-9444-B14E5B1D562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240" t="4042" r="10961" b="561"/>
          <a:stretch/>
        </p:blipFill>
        <p:spPr>
          <a:xfrm>
            <a:off x="-2" y="0"/>
            <a:ext cx="6096002" cy="6858000"/>
          </a:xfrm>
          <a:prstGeom prst="rect">
            <a:avLst/>
          </a:prstGeom>
        </p:spPr>
      </p:pic>
      <p:sp>
        <p:nvSpPr>
          <p:cNvPr id="8" name="Textplatzhalter 2">
            <a:extLst>
              <a:ext uri="{FF2B5EF4-FFF2-40B4-BE49-F238E27FC236}">
                <a16:creationId xmlns:a16="http://schemas.microsoft.com/office/drawing/2014/main" id="{C5A4DB1B-503D-44DC-867D-14E12042BBB2}"/>
              </a:ext>
            </a:extLst>
          </p:cNvPr>
          <p:cNvSpPr>
            <a:spLocks noGrp="1"/>
          </p:cNvSpPr>
          <p:nvPr>
            <p:ph type="body" sz="quarter" idx="13" hasCustomPrompt="1"/>
          </p:nvPr>
        </p:nvSpPr>
        <p:spPr>
          <a:xfrm>
            <a:off x="9466048" y="477838"/>
            <a:ext cx="2736000" cy="431800"/>
          </a:xfrm>
          <a:solidFill>
            <a:schemeClr val="accent2"/>
          </a:solidFill>
        </p:spPr>
        <p:txBody>
          <a:bodyPr rIns="540000" anchor="ctr" anchorCtr="0"/>
          <a:lstStyle>
            <a:lvl1pPr marL="0" indent="0" algn="r">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algn="r"/>
            <a:r>
              <a:rPr lang="de-DE" sz="1800" dirty="0" err="1">
                <a:solidFill>
                  <a:schemeClr val="bg1"/>
                </a:solidFill>
              </a:rPr>
              <a:t>Confidentiality</a:t>
            </a:r>
            <a:r>
              <a:rPr lang="de-DE" sz="1800" dirty="0">
                <a:solidFill>
                  <a:schemeClr val="bg1"/>
                </a:solidFill>
              </a:rPr>
              <a:t> </a:t>
            </a:r>
            <a:r>
              <a:rPr lang="de-DE" sz="1800" dirty="0" err="1">
                <a:solidFill>
                  <a:schemeClr val="bg1"/>
                </a:solidFill>
              </a:rPr>
              <a:t>class</a:t>
            </a:r>
            <a:endParaRPr lang="de-DE" sz="1800" dirty="0">
              <a:solidFill>
                <a:schemeClr val="bg1"/>
              </a:solidFill>
            </a:endParaRPr>
          </a:p>
        </p:txBody>
      </p:sp>
    </p:spTree>
    <p:extLst>
      <p:ext uri="{BB962C8B-B14F-4D97-AF65-F5344CB8AC3E}">
        <p14:creationId xmlns:p14="http://schemas.microsoft.com/office/powerpoint/2010/main" val="15329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94" userDrawn="1">
          <p15:clr>
            <a:srgbClr val="FBAE40"/>
          </p15:clr>
        </p15:guide>
        <p15:guide id="2" pos="526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Bild">
            <a:extLst>
              <a:ext uri="{FF2B5EF4-FFF2-40B4-BE49-F238E27FC236}">
                <a16:creationId xmlns:a16="http://schemas.microsoft.com/office/drawing/2014/main" id="{D8D38D20-6786-4848-975C-AD8EA31911D4}"/>
              </a:ext>
            </a:extLst>
          </p:cNvPr>
          <p:cNvSpPr>
            <a:spLocks noGrp="1" noChangeAspect="1"/>
          </p:cNvSpPr>
          <p:nvPr>
            <p:ph type="pic" sz="quarter" idx="12" hasCustomPrompt="1"/>
          </p:nvPr>
        </p:nvSpPr>
        <p:spPr bwMode="gray">
          <a:xfrm>
            <a:off x="8038561" y="1557435"/>
            <a:ext cx="3600468" cy="4246710"/>
          </a:xfrm>
          <a:prstGeom prst="rect">
            <a:avLst/>
          </a:prstGeom>
          <a:solidFill>
            <a:schemeClr val="bg1">
              <a:lumMod val="95000"/>
            </a:schemeClr>
          </a:solidFill>
        </p:spPr>
        <p:txBody>
          <a:bodyPr vert="horz" lIns="252000" tIns="252000" rIns="252000" bIns="252000" rtlCol="0" anchor="ctr" anchorCtr="0">
            <a:noAutofit/>
          </a:bodyPr>
          <a:lstStyle>
            <a:lvl1pPr marL="285759" indent="-285759" algn="ctr">
              <a:buNone/>
              <a:defRPr lang="de-DE" dirty="0"/>
            </a:lvl1pPr>
          </a:lstStyle>
          <a:p>
            <a:r>
              <a:rPr lang="de-DE" noProof="0" dirty="0"/>
              <a:t>Picture</a:t>
            </a:r>
          </a:p>
        </p:txBody>
      </p:sp>
      <p:sp>
        <p:nvSpPr>
          <p:cNvPr id="3" name="Fußzeilenplatzhalter 2">
            <a:extLst>
              <a:ext uri="{FF2B5EF4-FFF2-40B4-BE49-F238E27FC236}">
                <a16:creationId xmlns:a16="http://schemas.microsoft.com/office/drawing/2014/main" id="{43E6ECA5-F089-43AA-B0B2-E709C40B1655}"/>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A5845474-1E24-4C08-B9D1-764417630E4D}"/>
              </a:ext>
            </a:extLst>
          </p:cNvPr>
          <p:cNvSpPr>
            <a:spLocks noGrp="1"/>
          </p:cNvSpPr>
          <p:nvPr>
            <p:ph type="sldNum" sz="quarter" idx="18"/>
          </p:nvPr>
        </p:nvSpPr>
        <p:spPr/>
        <p:txBody>
          <a:bodyPr/>
          <a:lstStyle/>
          <a:p>
            <a:fld id="{B227C86F-CC2D-492F-A88C-C748186E73FB}" type="slidenum">
              <a:rPr lang="de-DE" smtClean="0"/>
              <a:pPr/>
              <a:t>‹#›</a:t>
            </a:fld>
            <a:endParaRPr lang="de-DE" dirty="0"/>
          </a:p>
        </p:txBody>
      </p:sp>
      <p:pic>
        <p:nvPicPr>
          <p:cNvPr id="11" name="Grafik 10">
            <a:extLst>
              <a:ext uri="{FF2B5EF4-FFF2-40B4-BE49-F238E27FC236}">
                <a16:creationId xmlns:a16="http://schemas.microsoft.com/office/drawing/2014/main" id="{ECCD4D6D-38C2-4754-8826-A51F9DE1F0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
        <p:nvSpPr>
          <p:cNvPr id="10" name="Text">
            <a:extLst>
              <a:ext uri="{FF2B5EF4-FFF2-40B4-BE49-F238E27FC236}">
                <a16:creationId xmlns:a16="http://schemas.microsoft.com/office/drawing/2014/main" id="{CE444721-50EC-440C-A525-B1C9A8556277}"/>
              </a:ext>
            </a:extLst>
          </p:cNvPr>
          <p:cNvSpPr>
            <a:spLocks noGrp="1"/>
          </p:cNvSpPr>
          <p:nvPr>
            <p:ph type="body" sz="quarter" idx="16" hasCustomPrompt="1"/>
          </p:nvPr>
        </p:nvSpPr>
        <p:spPr bwMode="gray">
          <a:xfrm>
            <a:off x="55341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4" name="Textfeld 13">
            <a:extLst>
              <a:ext uri="{FF2B5EF4-FFF2-40B4-BE49-F238E27FC236}">
                <a16:creationId xmlns:a16="http://schemas.microsoft.com/office/drawing/2014/main" id="{BCFCC216-E3DC-4851-86AC-C5B65025AED6}"/>
              </a:ext>
            </a:extLst>
          </p:cNvPr>
          <p:cNvSpPr txBox="1"/>
          <p:nvPr userDrawn="1"/>
        </p:nvSpPr>
        <p:spPr>
          <a:xfrm>
            <a:off x="553403" y="912178"/>
            <a:ext cx="11090274" cy="649287"/>
          </a:xfrm>
          <a:prstGeom prst="rect">
            <a:avLst/>
          </a:prstGeom>
          <a:noFill/>
          <a:ln>
            <a:noFill/>
          </a:ln>
        </p:spPr>
        <p:txBody>
          <a:bodyPr wrap="square" lIns="0" tIns="0" rIns="0" bIns="0" rtlCol="0">
            <a:noAutofit/>
          </a:bodyPr>
          <a:lstStyle/>
          <a:p>
            <a:pPr algn="l"/>
            <a:r>
              <a:rPr lang="de-DE" sz="2800" b="1" dirty="0">
                <a:latin typeface="+mj-lt"/>
              </a:rPr>
              <a:t>Agenda</a:t>
            </a:r>
          </a:p>
        </p:txBody>
      </p:sp>
      <p:sp>
        <p:nvSpPr>
          <p:cNvPr id="15" name="Text 2">
            <a:extLst>
              <a:ext uri="{FF2B5EF4-FFF2-40B4-BE49-F238E27FC236}">
                <a16:creationId xmlns:a16="http://schemas.microsoft.com/office/drawing/2014/main" id="{A87CBDE3-7A49-4FAE-8277-78CCC152547C}"/>
              </a:ext>
            </a:extLst>
          </p:cNvPr>
          <p:cNvSpPr>
            <a:spLocks noGrp="1"/>
          </p:cNvSpPr>
          <p:nvPr>
            <p:ph type="body" sz="quarter" idx="19" hasCustomPrompt="1"/>
          </p:nvPr>
        </p:nvSpPr>
        <p:spPr bwMode="gray">
          <a:xfrm>
            <a:off x="553403" y="1988459"/>
            <a:ext cx="6945312" cy="3312107"/>
          </a:xfrm>
        </p:spPr>
        <p:txBody>
          <a:bodyPr anchor="t" anchorCtr="0"/>
          <a:lstStyle>
            <a:lvl1pPr marL="265113" indent="-265113" algn="l">
              <a:spcAft>
                <a:spcPts val="600"/>
              </a:spcAft>
              <a:buSzPct val="120000"/>
              <a:buFontTx/>
              <a:buBlip>
                <a:blip r:embed="rId4"/>
              </a:buBlip>
              <a:defRPr baseline="0"/>
            </a:lvl1pPr>
            <a:lvl2pPr marL="715963" indent="-266700" algn="l">
              <a:spcAft>
                <a:spcPts val="600"/>
              </a:spcAft>
              <a:buSzPct val="120000"/>
              <a:buFontTx/>
              <a:buBlip>
                <a:blip r:embed="rId4"/>
              </a:buBlip>
              <a:defRPr/>
            </a:lvl2pPr>
            <a:lvl3pPr marL="1080036" indent="-270009" algn="l">
              <a:spcAft>
                <a:spcPts val="600"/>
              </a:spcAft>
              <a:buSzPct val="120000"/>
              <a:buFontTx/>
              <a:buBlip>
                <a:blip r:embed="rId5"/>
              </a:buBlip>
              <a:defRPr/>
            </a:lvl3pPr>
            <a:lvl4pPr marL="1440048" indent="-270009" algn="l">
              <a:spcAft>
                <a:spcPts val="600"/>
              </a:spcAft>
              <a:buSzPct val="120000"/>
              <a:buFontTx/>
              <a:buBlip>
                <a:blip r:embed="rId5"/>
              </a:buBlip>
              <a:defRPr/>
            </a:lvl4pPr>
            <a:lvl5pPr marL="1800060" indent="-270009" algn="l">
              <a:spcAft>
                <a:spcPts val="600"/>
              </a:spcAft>
              <a:buSzPct val="120000"/>
              <a:buFontTx/>
              <a:buBlip>
                <a:blip r:embed="rId5"/>
              </a:buBlip>
              <a:defRPr/>
            </a:lvl5pPr>
          </a:lstStyle>
          <a:p>
            <a:pPr lvl="0"/>
            <a:r>
              <a:rPr lang="de-DE" noProof="0" dirty="0"/>
              <a:t>Chapter 1</a:t>
            </a:r>
          </a:p>
          <a:p>
            <a:pPr lvl="0"/>
            <a:r>
              <a:rPr lang="de-DE" noProof="0" dirty="0"/>
              <a:t>Chapter 2</a:t>
            </a:r>
          </a:p>
          <a:p>
            <a:pPr lvl="1"/>
            <a:r>
              <a:rPr lang="de-DE" noProof="0" dirty="0"/>
              <a:t>Second </a:t>
            </a:r>
            <a:r>
              <a:rPr lang="de-DE" noProof="0" dirty="0" err="1"/>
              <a:t>level</a:t>
            </a:r>
            <a:endParaRPr lang="de-DE" noProof="0" dirty="0"/>
          </a:p>
        </p:txBody>
      </p:sp>
    </p:spTree>
    <p:extLst>
      <p:ext uri="{BB962C8B-B14F-4D97-AF65-F5344CB8AC3E}">
        <p14:creationId xmlns:p14="http://schemas.microsoft.com/office/powerpoint/2010/main" val="193994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64" userDrawn="1">
          <p15:clr>
            <a:srgbClr val="FBAE40"/>
          </p15:clr>
        </p15:guide>
        <p15:guide id="2" pos="4974" userDrawn="1">
          <p15:clr>
            <a:srgbClr val="FBAE40"/>
          </p15:clr>
        </p15:guide>
        <p15:guide id="3" orient="horz" pos="2137" userDrawn="1">
          <p15:clr>
            <a:srgbClr val="FBAE40"/>
          </p15:clr>
        </p15:guide>
        <p15:guide id="4" orient="horz" pos="3656" userDrawn="1">
          <p15:clr>
            <a:srgbClr val="FBAE40"/>
          </p15:clr>
        </p15:guide>
        <p15:guide id="5" orient="horz" pos="3839" userDrawn="1">
          <p15:clr>
            <a:srgbClr val="FBAE40"/>
          </p15:clr>
        </p15:guide>
        <p15:guide id="6" orient="horz" pos="406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small  picture">
    <p:spTree>
      <p:nvGrpSpPr>
        <p:cNvPr id="1" name=""/>
        <p:cNvGrpSpPr/>
        <p:nvPr/>
      </p:nvGrpSpPr>
      <p:grpSpPr>
        <a:xfrm>
          <a:off x="0" y="0"/>
          <a:ext cx="0" cy="0"/>
          <a:chOff x="0" y="0"/>
          <a:chExt cx="0" cy="0"/>
        </a:xfrm>
      </p:grpSpPr>
      <p:sp>
        <p:nvSpPr>
          <p:cNvPr id="10" name="Text"/>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2" name="Titel"/>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sp>
        <p:nvSpPr>
          <p:cNvPr id="19" name="Inhalt"/>
          <p:cNvSpPr>
            <a:spLocks noGrp="1"/>
          </p:cNvSpPr>
          <p:nvPr>
            <p:ph idx="15" hasCustomPrompt="1"/>
          </p:nvPr>
        </p:nvSpPr>
        <p:spPr bwMode="gray">
          <a:xfrm>
            <a:off x="550873" y="1558924"/>
            <a:ext cx="7344956" cy="4246531"/>
          </a:xfrm>
          <a:prstGeom prst="rect">
            <a:avLst/>
          </a:prstGeom>
        </p:spPr>
        <p:txBody>
          <a:bodyPr vert="horz" lIns="0" tIns="72000" rIns="0" bIns="72000" rtlCol="0">
            <a:noAutofit/>
          </a:bodyPr>
          <a:lstStyle>
            <a:lvl1pPr marL="270009" marR="0" indent="-270009"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Char char="§"/>
              <a:tabLst/>
              <a:defRPr lang="de-DE" baseline="0"/>
            </a:lvl1pPr>
            <a:lvl2pPr marL="720024" indent="-270009" defTabSz="914430">
              <a:spcAft>
                <a:spcPts val="0"/>
              </a:spcAft>
              <a:buClr>
                <a:schemeClr val="accent2"/>
              </a:buClr>
              <a:buFont typeface="Wingdings" panose="05000000000000000000" pitchFamily="2" charset="2"/>
              <a:defRPr lang="de-DE" dirty="0" smtClean="0"/>
            </a:lvl2pPr>
            <a:lvl3pPr marL="1080036" indent="-270009" defTabSz="914430">
              <a:spcAft>
                <a:spcPts val="0"/>
              </a:spcAft>
              <a:buClr>
                <a:schemeClr val="accent2"/>
              </a:buClr>
              <a:buFont typeface="Wingdings" panose="05000000000000000000" pitchFamily="2" charset="2"/>
              <a:defRPr lang="de-DE" dirty="0" smtClean="0"/>
            </a:lvl3pPr>
            <a:lvl4pPr marL="1440048" indent="-270009" defTabSz="914430">
              <a:spcAft>
                <a:spcPts val="0"/>
              </a:spcAft>
              <a:buClr>
                <a:schemeClr val="accent2"/>
              </a:buClr>
              <a:buFont typeface="Wingdings" panose="05000000000000000000" pitchFamily="2" charset="2"/>
              <a:defRPr lang="de-DE" dirty="0" smtClean="0"/>
            </a:lvl4pPr>
            <a:lvl5pPr marL="1800060" indent="-270009" defTabSz="914430">
              <a:spcAft>
                <a:spcPts val="0"/>
              </a:spcAft>
              <a:buClr>
                <a:schemeClr val="accent2"/>
              </a:buClr>
              <a:buFont typeface="Wingdings" panose="05000000000000000000" pitchFamily="2" charset="2"/>
              <a:defRPr lang="de-DE" dirty="0"/>
            </a:lvl5pPr>
            <a:lvl6pPr marL="2160072" indent="-270009" defTabSz="914430">
              <a:lnSpc>
                <a:spcPct val="100000"/>
              </a:lnSpc>
              <a:spcAft>
                <a:spcPts val="0"/>
              </a:spcAft>
              <a:buClr>
                <a:schemeClr val="accent2"/>
              </a:buClr>
              <a:buFont typeface="Wingdings" panose="05000000000000000000" pitchFamily="2" charset="2"/>
              <a:defRPr lang="de-DE" dirty="0" smtClean="0"/>
            </a:lvl6pPr>
            <a:lvl7pPr marL="2520084" indent="-270009" defTabSz="914430">
              <a:lnSpc>
                <a:spcPct val="100000"/>
              </a:lnSpc>
              <a:spcAft>
                <a:spcPts val="0"/>
              </a:spcAft>
              <a:buClr>
                <a:schemeClr val="accent2"/>
              </a:buClr>
              <a:buFont typeface="Wingdings" panose="05000000000000000000" pitchFamily="2" charset="2"/>
              <a:defRPr lang="de-DE" dirty="0" smtClean="0"/>
            </a:lvl7pPr>
          </a:lstStyle>
          <a:p>
            <a:pPr marL="270009" marR="0" lvl="0" indent="-270009" algn="l" defTabSz="914430" rtl="0" eaLnBrk="1" fontAlgn="auto" latinLnBrk="0" hangingPunct="1">
              <a:lnSpc>
                <a:spcPct val="100000"/>
              </a:lnSpc>
              <a:spcBef>
                <a:spcPts val="1000"/>
              </a:spcBef>
              <a:spcAft>
                <a:spcPts val="0"/>
              </a:spcAft>
              <a:buClr>
                <a:schemeClr val="accent2"/>
              </a:buClr>
              <a:buSzTx/>
              <a:buFont typeface="Wingdings" panose="05000000000000000000" pitchFamily="2" charset="2"/>
              <a:buChar char="§"/>
              <a:tabLst/>
              <a:defRPr/>
            </a:pPr>
            <a:r>
              <a:rPr lang="de-DE" noProof="0" dirty="0"/>
              <a:t>Text</a:t>
            </a:r>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8" name="Bild">
            <a:extLst>
              <a:ext uri="{FF2B5EF4-FFF2-40B4-BE49-F238E27FC236}">
                <a16:creationId xmlns:a16="http://schemas.microsoft.com/office/drawing/2014/main" id="{B93F4A5E-CA26-41A9-A304-3A8CEC8F31B2}"/>
              </a:ext>
            </a:extLst>
          </p:cNvPr>
          <p:cNvSpPr>
            <a:spLocks noGrp="1" noChangeAspect="1"/>
          </p:cNvSpPr>
          <p:nvPr>
            <p:ph type="pic" sz="quarter" idx="12" hasCustomPrompt="1"/>
          </p:nvPr>
        </p:nvSpPr>
        <p:spPr bwMode="gray">
          <a:xfrm>
            <a:off x="8038561" y="1557435"/>
            <a:ext cx="3600468" cy="4246710"/>
          </a:xfrm>
          <a:prstGeom prst="rect">
            <a:avLst/>
          </a:prstGeom>
          <a:solidFill>
            <a:schemeClr val="bg1">
              <a:lumMod val="95000"/>
            </a:schemeClr>
          </a:solidFill>
        </p:spPr>
        <p:txBody>
          <a:bodyPr vert="horz" lIns="252000" tIns="252000" rIns="252000" bIns="252000" rtlCol="0" anchor="ctr" anchorCtr="0">
            <a:noAutofit/>
          </a:bodyPr>
          <a:lstStyle>
            <a:lvl1pPr marL="285759" indent="-285759" algn="ctr">
              <a:buNone/>
              <a:defRPr lang="de-DE" dirty="0"/>
            </a:lvl1pPr>
          </a:lstStyle>
          <a:p>
            <a:r>
              <a:rPr lang="de-DE" noProof="0" dirty="0"/>
              <a:t>Picture</a:t>
            </a:r>
          </a:p>
        </p:txBody>
      </p:sp>
      <p:sp>
        <p:nvSpPr>
          <p:cNvPr id="3" name="Fußzeilenplatzhalter 2">
            <a:extLst>
              <a:ext uri="{FF2B5EF4-FFF2-40B4-BE49-F238E27FC236}">
                <a16:creationId xmlns:a16="http://schemas.microsoft.com/office/drawing/2014/main" id="{17CF5678-8929-4EA0-92A2-F64A6CBF42D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16B617B-D19D-4B3A-A483-F6F248168BCA}"/>
              </a:ext>
            </a:extLst>
          </p:cNvPr>
          <p:cNvSpPr>
            <a:spLocks noGrp="1"/>
          </p:cNvSpPr>
          <p:nvPr>
            <p:ph type="sldNum" sz="quarter" idx="18"/>
          </p:nvPr>
        </p:nvSpPr>
        <p:spPr/>
        <p:txBody>
          <a:bodyPr/>
          <a:lstStyle/>
          <a:p>
            <a:fld id="{B227C86F-CC2D-492F-A88C-C748186E73FB}" type="slidenum">
              <a:rPr lang="de-DE" smtClean="0"/>
              <a:pPr/>
              <a:t>‹#›</a:t>
            </a:fld>
            <a:endParaRPr lang="de-DE" dirty="0"/>
          </a:p>
        </p:txBody>
      </p:sp>
      <p:pic>
        <p:nvPicPr>
          <p:cNvPr id="9" name="Grafik 8">
            <a:extLst>
              <a:ext uri="{FF2B5EF4-FFF2-40B4-BE49-F238E27FC236}">
                <a16:creationId xmlns:a16="http://schemas.microsoft.com/office/drawing/2014/main" id="{F02A9AF9-B143-44F7-8AF3-4D5EAB3BB5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2389622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userDrawn="1">
          <p15:clr>
            <a:srgbClr val="FBAE40"/>
          </p15:clr>
        </p15:guide>
        <p15:guide id="2" pos="5064" userDrawn="1">
          <p15:clr>
            <a:srgbClr val="FBAE40"/>
          </p15:clr>
        </p15:guide>
        <p15:guide id="4" orient="horz" pos="3656" userDrawn="1">
          <p15:clr>
            <a:srgbClr val="FBAE40"/>
          </p15:clr>
        </p15:guide>
        <p15:guide id="5" orient="horz" pos="3839" userDrawn="1">
          <p15:clr>
            <a:srgbClr val="FBAE40"/>
          </p15:clr>
        </p15:guide>
        <p15:guide id="6" orient="horz" pos="406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advantages">
    <p:spTree>
      <p:nvGrpSpPr>
        <p:cNvPr id="1" name=""/>
        <p:cNvGrpSpPr/>
        <p:nvPr/>
      </p:nvGrpSpPr>
      <p:grpSpPr>
        <a:xfrm>
          <a:off x="0" y="0"/>
          <a:ext cx="0" cy="0"/>
          <a:chOff x="0" y="0"/>
          <a:chExt cx="0" cy="0"/>
        </a:xfrm>
      </p:grpSpPr>
      <p:sp>
        <p:nvSpPr>
          <p:cNvPr id="8" name="Bild">
            <a:extLst>
              <a:ext uri="{FF2B5EF4-FFF2-40B4-BE49-F238E27FC236}">
                <a16:creationId xmlns:a16="http://schemas.microsoft.com/office/drawing/2014/main" id="{B93F4A5E-CA26-41A9-A304-3A8CEC8F31B2}"/>
              </a:ext>
            </a:extLst>
          </p:cNvPr>
          <p:cNvSpPr>
            <a:spLocks noGrp="1" noChangeAspect="1"/>
          </p:cNvSpPr>
          <p:nvPr>
            <p:ph type="pic" sz="quarter" idx="12" hasCustomPrompt="1"/>
          </p:nvPr>
        </p:nvSpPr>
        <p:spPr bwMode="gray">
          <a:xfrm>
            <a:off x="549345" y="1558924"/>
            <a:ext cx="5548244" cy="4283075"/>
          </a:xfrm>
          <a:prstGeom prst="rect">
            <a:avLst/>
          </a:prstGeom>
          <a:solidFill>
            <a:schemeClr val="bg1">
              <a:lumMod val="95000"/>
            </a:schemeClr>
          </a:solidFill>
        </p:spPr>
        <p:txBody>
          <a:bodyPr vert="horz" lIns="252000" tIns="252000" rIns="252000" bIns="252000" rtlCol="0" anchor="ctr" anchorCtr="0">
            <a:noAutofit/>
          </a:bodyPr>
          <a:lstStyle>
            <a:lvl1pPr marL="285759" indent="-285759" algn="ctr">
              <a:buNone/>
              <a:defRPr lang="de-DE" dirty="0"/>
            </a:lvl1pPr>
          </a:lstStyle>
          <a:p>
            <a:r>
              <a:rPr lang="de-DE" noProof="0" dirty="0"/>
              <a:t>Picture</a:t>
            </a:r>
          </a:p>
        </p:txBody>
      </p:sp>
      <p:sp>
        <p:nvSpPr>
          <p:cNvPr id="3" name="Fußzeilenplatzhalter 2">
            <a:extLst>
              <a:ext uri="{FF2B5EF4-FFF2-40B4-BE49-F238E27FC236}">
                <a16:creationId xmlns:a16="http://schemas.microsoft.com/office/drawing/2014/main" id="{17CF5678-8929-4EA0-92A2-F64A6CBF42D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16B617B-D19D-4B3A-A483-F6F248168BCA}"/>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14" name="Textplatzhalter 13">
            <a:extLst>
              <a:ext uri="{FF2B5EF4-FFF2-40B4-BE49-F238E27FC236}">
                <a16:creationId xmlns:a16="http://schemas.microsoft.com/office/drawing/2014/main" id="{35D697D1-9910-4E36-BFFA-642EEAEC9787}"/>
              </a:ext>
            </a:extLst>
          </p:cNvPr>
          <p:cNvSpPr>
            <a:spLocks noGrp="1"/>
          </p:cNvSpPr>
          <p:nvPr>
            <p:ph type="body" sz="quarter" idx="21" hasCustomPrompt="1"/>
          </p:nvPr>
        </p:nvSpPr>
        <p:spPr>
          <a:xfrm>
            <a:off x="6530976" y="1895642"/>
            <a:ext cx="5109342" cy="3666958"/>
          </a:xfrm>
        </p:spPr>
        <p:txBody>
          <a:bodyPr/>
          <a:lstStyle>
            <a:lvl1pPr marL="344488" indent="-344488">
              <a:buSzPct val="120000"/>
              <a:buFontTx/>
              <a:buBlip>
                <a:blip r:embed="rId2"/>
              </a:buBlip>
              <a:defRPr baseline="0"/>
            </a:lvl1pPr>
          </a:lstStyle>
          <a:p>
            <a:pPr lvl="0"/>
            <a:r>
              <a:rPr lang="de-DE" dirty="0"/>
              <a:t>Advantage 1</a:t>
            </a:r>
          </a:p>
          <a:p>
            <a:pPr lvl="0"/>
            <a:r>
              <a:rPr lang="de-DE" dirty="0"/>
              <a:t>Advantage 2</a:t>
            </a:r>
          </a:p>
          <a:p>
            <a:pPr lvl="0"/>
            <a:r>
              <a:rPr lang="de-DE" dirty="0"/>
              <a:t>Advantage 3</a:t>
            </a:r>
          </a:p>
        </p:txBody>
      </p:sp>
      <p:sp>
        <p:nvSpPr>
          <p:cNvPr id="10" name="Text">
            <a:extLst>
              <a:ext uri="{FF2B5EF4-FFF2-40B4-BE49-F238E27FC236}">
                <a16:creationId xmlns:a16="http://schemas.microsoft.com/office/drawing/2014/main" id="{538B0A80-9B08-4129-8004-7B62E3264034}"/>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3" name="Titel">
            <a:extLst>
              <a:ext uri="{FF2B5EF4-FFF2-40B4-BE49-F238E27FC236}">
                <a16:creationId xmlns:a16="http://schemas.microsoft.com/office/drawing/2014/main" id="{AF67B85C-C139-4923-A18A-11083E6E92E8}"/>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1" name="Grafik 10">
            <a:extLst>
              <a:ext uri="{FF2B5EF4-FFF2-40B4-BE49-F238E27FC236}">
                <a16:creationId xmlns:a16="http://schemas.microsoft.com/office/drawing/2014/main" id="{2A1BEED7-3E2B-4894-8948-DA0DA157167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244632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userDrawn="1">
          <p15:clr>
            <a:srgbClr val="FBAE40"/>
          </p15:clr>
        </p15:guide>
        <p15:guide id="2" pos="5064" userDrawn="1">
          <p15:clr>
            <a:srgbClr val="FBAE40"/>
          </p15:clr>
        </p15:guide>
        <p15:guide id="4" orient="horz" pos="3680" userDrawn="1">
          <p15:clr>
            <a:srgbClr val="FBAE40"/>
          </p15:clr>
        </p15:guide>
        <p15:guide id="5" orient="horz" pos="3839" userDrawn="1">
          <p15:clr>
            <a:srgbClr val="FBAE40"/>
          </p15:clr>
        </p15:guide>
        <p15:guide id="6" orient="horz" pos="406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picture + advantages">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17CF5678-8929-4EA0-92A2-F64A6CBF42D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16B617B-D19D-4B3A-A483-F6F248168BCA}"/>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9" name="Bild">
            <a:extLst>
              <a:ext uri="{FF2B5EF4-FFF2-40B4-BE49-F238E27FC236}">
                <a16:creationId xmlns:a16="http://schemas.microsoft.com/office/drawing/2014/main" id="{073A6004-4887-4C94-AF0B-147739FCF2C9}"/>
              </a:ext>
            </a:extLst>
          </p:cNvPr>
          <p:cNvSpPr>
            <a:spLocks noGrp="1" noChangeAspect="1"/>
          </p:cNvSpPr>
          <p:nvPr>
            <p:ph type="pic" sz="quarter" idx="12" hasCustomPrompt="1"/>
          </p:nvPr>
        </p:nvSpPr>
        <p:spPr bwMode="gray">
          <a:xfrm>
            <a:off x="550873" y="1558440"/>
            <a:ext cx="3600468"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11" name="Textplatzhalter 13">
            <a:extLst>
              <a:ext uri="{FF2B5EF4-FFF2-40B4-BE49-F238E27FC236}">
                <a16:creationId xmlns:a16="http://schemas.microsoft.com/office/drawing/2014/main" id="{79A48840-0330-4416-ACB3-35E7D7DEEC0C}"/>
              </a:ext>
            </a:extLst>
          </p:cNvPr>
          <p:cNvSpPr>
            <a:spLocks noGrp="1"/>
          </p:cNvSpPr>
          <p:nvPr>
            <p:ph type="body" sz="quarter" idx="22" hasCustomPrompt="1"/>
          </p:nvPr>
        </p:nvSpPr>
        <p:spPr>
          <a:xfrm>
            <a:off x="4577593" y="1895642"/>
            <a:ext cx="7062724" cy="3539900"/>
          </a:xfrm>
        </p:spPr>
        <p:txBody>
          <a:bodyPr/>
          <a:lstStyle>
            <a:lvl1pPr marL="344488" indent="-344488">
              <a:buSzPct val="120000"/>
              <a:buFontTx/>
              <a:buBlip>
                <a:blip r:embed="rId2"/>
              </a:buBlip>
              <a:defRPr baseline="0"/>
            </a:lvl1pPr>
          </a:lstStyle>
          <a:p>
            <a:pPr lvl="0"/>
            <a:r>
              <a:rPr lang="de-DE" dirty="0"/>
              <a:t>Advantage 1</a:t>
            </a:r>
          </a:p>
          <a:p>
            <a:pPr lvl="0"/>
            <a:r>
              <a:rPr lang="de-DE" dirty="0"/>
              <a:t>Advantage 2</a:t>
            </a:r>
          </a:p>
          <a:p>
            <a:pPr lvl="0"/>
            <a:r>
              <a:rPr lang="de-DE" dirty="0"/>
              <a:t>Advantage 3</a:t>
            </a:r>
          </a:p>
        </p:txBody>
      </p:sp>
      <p:sp>
        <p:nvSpPr>
          <p:cNvPr id="10" name="Text">
            <a:extLst>
              <a:ext uri="{FF2B5EF4-FFF2-40B4-BE49-F238E27FC236}">
                <a16:creationId xmlns:a16="http://schemas.microsoft.com/office/drawing/2014/main" id="{DD4007B0-4C55-4E65-99A2-DFDE54080B45}"/>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5" name="Titel">
            <a:extLst>
              <a:ext uri="{FF2B5EF4-FFF2-40B4-BE49-F238E27FC236}">
                <a16:creationId xmlns:a16="http://schemas.microsoft.com/office/drawing/2014/main" id="{BF57F9E4-3729-45F7-AFB2-91B3F6D09BFA}"/>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3" name="Grafik 12">
            <a:extLst>
              <a:ext uri="{FF2B5EF4-FFF2-40B4-BE49-F238E27FC236}">
                <a16:creationId xmlns:a16="http://schemas.microsoft.com/office/drawing/2014/main" id="{F50563A8-21C5-49D5-96A2-1449B30B757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2965071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74" userDrawn="1">
          <p15:clr>
            <a:srgbClr val="FBAE40"/>
          </p15:clr>
        </p15:guide>
        <p15:guide id="2" pos="5064" userDrawn="1">
          <p15:clr>
            <a:srgbClr val="FBAE40"/>
          </p15:clr>
        </p15:guide>
        <p15:guide id="4" orient="horz" pos="3656" userDrawn="1">
          <p15:clr>
            <a:srgbClr val="FBAE40"/>
          </p15:clr>
        </p15:guide>
        <p15:guide id="5" orient="horz" pos="3839" userDrawn="1">
          <p15:clr>
            <a:srgbClr val="FBAE40"/>
          </p15:clr>
        </p15:guide>
        <p15:guide id="6" orient="horz" pos="406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picture + advantages">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17CF5678-8929-4EA0-92A2-F64A6CBF42D0}"/>
              </a:ext>
            </a:extLst>
          </p:cNvPr>
          <p:cNvSpPr>
            <a:spLocks noGrp="1"/>
          </p:cNvSpPr>
          <p:nvPr>
            <p:ph type="ftr" sz="quarter" idx="17"/>
          </p:nvPr>
        </p:nvSpPr>
        <p:spPr/>
        <p:txBody>
          <a:bodyPr/>
          <a:lstStyle/>
          <a:p>
            <a:r>
              <a:rPr lang="en-US"/>
              <a:t>Updated January 2023</a:t>
            </a:r>
            <a:endParaRPr lang="de-DE" dirty="0"/>
          </a:p>
        </p:txBody>
      </p:sp>
      <p:sp>
        <p:nvSpPr>
          <p:cNvPr id="4" name="Foliennummernplatzhalter 3">
            <a:extLst>
              <a:ext uri="{FF2B5EF4-FFF2-40B4-BE49-F238E27FC236}">
                <a16:creationId xmlns:a16="http://schemas.microsoft.com/office/drawing/2014/main" id="{916B617B-D19D-4B3A-A483-F6F248168BCA}"/>
              </a:ext>
            </a:extLst>
          </p:cNvPr>
          <p:cNvSpPr>
            <a:spLocks noGrp="1"/>
          </p:cNvSpPr>
          <p:nvPr>
            <p:ph type="sldNum" sz="quarter" idx="18"/>
          </p:nvPr>
        </p:nvSpPr>
        <p:spPr/>
        <p:txBody>
          <a:bodyPr/>
          <a:lstStyle/>
          <a:p>
            <a:fld id="{B227C86F-CC2D-492F-A88C-C748186E73FB}" type="slidenum">
              <a:rPr lang="de-DE" smtClean="0"/>
              <a:pPr/>
              <a:t>‹#›</a:t>
            </a:fld>
            <a:endParaRPr lang="de-DE" dirty="0"/>
          </a:p>
        </p:txBody>
      </p:sp>
      <p:sp>
        <p:nvSpPr>
          <p:cNvPr id="9" name="Bild">
            <a:extLst>
              <a:ext uri="{FF2B5EF4-FFF2-40B4-BE49-F238E27FC236}">
                <a16:creationId xmlns:a16="http://schemas.microsoft.com/office/drawing/2014/main" id="{B3049957-7802-4BB0-B7B3-1A57D779BC76}"/>
              </a:ext>
            </a:extLst>
          </p:cNvPr>
          <p:cNvSpPr>
            <a:spLocks noGrp="1" noChangeAspect="1"/>
          </p:cNvSpPr>
          <p:nvPr>
            <p:ph type="pic" sz="quarter" idx="12" hasCustomPrompt="1"/>
          </p:nvPr>
        </p:nvSpPr>
        <p:spPr bwMode="gray">
          <a:xfrm>
            <a:off x="550873" y="1558440"/>
            <a:ext cx="7344956" cy="4247016"/>
          </a:xfrm>
          <a:prstGeom prst="rect">
            <a:avLst/>
          </a:prstGeom>
          <a:solidFill>
            <a:schemeClr val="bg1">
              <a:lumMod val="95000"/>
            </a:schemeClr>
          </a:solidFill>
        </p:spPr>
        <p:txBody>
          <a:bodyPr lIns="252000" tIns="252000" rIns="252000" bIns="252000" anchor="ctr" anchorCtr="0"/>
          <a:lstStyle>
            <a:lvl1pPr marL="0" indent="0" algn="ctr">
              <a:buFont typeface="Arial" panose="020B0604020202020204" pitchFamily="34" charset="0"/>
              <a:buNone/>
              <a:defRPr/>
            </a:lvl1pPr>
          </a:lstStyle>
          <a:p>
            <a:r>
              <a:rPr lang="de-DE" noProof="0" dirty="0"/>
              <a:t>Picture</a:t>
            </a:r>
          </a:p>
        </p:txBody>
      </p:sp>
      <p:sp>
        <p:nvSpPr>
          <p:cNvPr id="14" name="Textplatzhalter 13">
            <a:extLst>
              <a:ext uri="{FF2B5EF4-FFF2-40B4-BE49-F238E27FC236}">
                <a16:creationId xmlns:a16="http://schemas.microsoft.com/office/drawing/2014/main" id="{DED8C38F-4C3E-40D7-BF7F-4642C7CB90A9}"/>
              </a:ext>
            </a:extLst>
          </p:cNvPr>
          <p:cNvSpPr>
            <a:spLocks noGrp="1"/>
          </p:cNvSpPr>
          <p:nvPr>
            <p:ph type="body" sz="quarter" idx="22" hasCustomPrompt="1"/>
          </p:nvPr>
        </p:nvSpPr>
        <p:spPr>
          <a:xfrm>
            <a:off x="8335218" y="1895642"/>
            <a:ext cx="3305100" cy="3651718"/>
          </a:xfrm>
        </p:spPr>
        <p:txBody>
          <a:bodyPr/>
          <a:lstStyle>
            <a:lvl1pPr marL="344488" indent="-344488">
              <a:buSzPct val="120000"/>
              <a:buFontTx/>
              <a:buBlip>
                <a:blip r:embed="rId2"/>
              </a:buBlip>
              <a:defRPr baseline="0"/>
            </a:lvl1pPr>
          </a:lstStyle>
          <a:p>
            <a:pPr lvl="0"/>
            <a:r>
              <a:rPr lang="de-DE" dirty="0"/>
              <a:t>Advantage 1</a:t>
            </a:r>
          </a:p>
          <a:p>
            <a:pPr lvl="0"/>
            <a:r>
              <a:rPr lang="de-DE" dirty="0"/>
              <a:t>Advantage 2</a:t>
            </a:r>
          </a:p>
          <a:p>
            <a:pPr lvl="0"/>
            <a:r>
              <a:rPr lang="de-DE" dirty="0"/>
              <a:t>Advantage 3</a:t>
            </a:r>
          </a:p>
        </p:txBody>
      </p:sp>
      <p:sp>
        <p:nvSpPr>
          <p:cNvPr id="10" name="Text">
            <a:extLst>
              <a:ext uri="{FF2B5EF4-FFF2-40B4-BE49-F238E27FC236}">
                <a16:creationId xmlns:a16="http://schemas.microsoft.com/office/drawing/2014/main" id="{7654F987-CE7E-4F96-957F-546F91E06490}"/>
              </a:ext>
            </a:extLst>
          </p:cNvPr>
          <p:cNvSpPr>
            <a:spLocks noGrp="1"/>
          </p:cNvSpPr>
          <p:nvPr>
            <p:ph type="body" sz="quarter" idx="16" hasCustomPrompt="1"/>
          </p:nvPr>
        </p:nvSpPr>
        <p:spPr bwMode="gray">
          <a:xfrm>
            <a:off x="550873" y="480402"/>
            <a:ext cx="11089444" cy="429236"/>
          </a:xfrm>
          <a:noFill/>
        </p:spPr>
        <p:txBody>
          <a:bodyPr tIns="0" bIns="0" anchor="ctr" anchorCtr="0"/>
          <a:lstStyle>
            <a:lvl1pPr marL="0" indent="0">
              <a:buFontTx/>
              <a:buNone/>
              <a:defRPr/>
            </a:lvl1pPr>
          </a:lstStyle>
          <a:p>
            <a:pPr marL="0" lvl="0" indent="0">
              <a:buNone/>
            </a:pPr>
            <a:r>
              <a:rPr lang="de-DE" noProof="0" dirty="0"/>
              <a:t>Topic </a:t>
            </a:r>
            <a:r>
              <a:rPr lang="de-DE" noProof="0" dirty="0" err="1"/>
              <a:t>of</a:t>
            </a:r>
            <a:r>
              <a:rPr lang="de-DE" noProof="0" dirty="0"/>
              <a:t> </a:t>
            </a:r>
            <a:r>
              <a:rPr lang="de-DE" noProof="0" dirty="0" err="1"/>
              <a:t>the</a:t>
            </a:r>
            <a:r>
              <a:rPr lang="de-DE" noProof="0" dirty="0"/>
              <a:t> </a:t>
            </a:r>
            <a:r>
              <a:rPr lang="de-DE" noProof="0" dirty="0" err="1"/>
              <a:t>presentation</a:t>
            </a:r>
            <a:endParaRPr lang="de-DE" noProof="0" dirty="0"/>
          </a:p>
        </p:txBody>
      </p:sp>
      <p:sp>
        <p:nvSpPr>
          <p:cNvPr id="15" name="Titel">
            <a:extLst>
              <a:ext uri="{FF2B5EF4-FFF2-40B4-BE49-F238E27FC236}">
                <a16:creationId xmlns:a16="http://schemas.microsoft.com/office/drawing/2014/main" id="{F8A6CE84-77A4-4BEC-8E5E-9935534BFED1}"/>
              </a:ext>
            </a:extLst>
          </p:cNvPr>
          <p:cNvSpPr>
            <a:spLocks noGrp="1"/>
          </p:cNvSpPr>
          <p:nvPr>
            <p:ph type="title" hasCustomPrompt="1"/>
          </p:nvPr>
        </p:nvSpPr>
        <p:spPr bwMode="gray">
          <a:xfrm>
            <a:off x="550873" y="909638"/>
            <a:ext cx="11089444" cy="645203"/>
          </a:xfrm>
        </p:spPr>
        <p:txBody>
          <a:bodyPr/>
          <a:lstStyle>
            <a:lvl1pPr>
              <a:defRPr>
                <a:latin typeface="+mj-lt"/>
              </a:defRPr>
            </a:lvl1p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pic>
        <p:nvPicPr>
          <p:cNvPr id="12" name="Grafik 11">
            <a:extLst>
              <a:ext uri="{FF2B5EF4-FFF2-40B4-BE49-F238E27FC236}">
                <a16:creationId xmlns:a16="http://schemas.microsoft.com/office/drawing/2014/main" id="{4405E46C-2DB0-4288-BB87-A5E383B8CD5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867395" y="6129188"/>
            <a:ext cx="3334653" cy="308441"/>
          </a:xfrm>
          <a:prstGeom prst="rect">
            <a:avLst/>
          </a:prstGeom>
        </p:spPr>
      </p:pic>
    </p:spTree>
    <p:extLst>
      <p:ext uri="{BB962C8B-B14F-4D97-AF65-F5344CB8AC3E}">
        <p14:creationId xmlns:p14="http://schemas.microsoft.com/office/powerpoint/2010/main" val="340725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448" userDrawn="1">
          <p15:clr>
            <a:srgbClr val="FBAE40"/>
          </p15:clr>
        </p15:guide>
        <p15:guide id="2" pos="5064" userDrawn="1">
          <p15:clr>
            <a:srgbClr val="FBAE40"/>
          </p15:clr>
        </p15:guide>
        <p15:guide id="4" orient="horz" pos="3657" userDrawn="1">
          <p15:clr>
            <a:srgbClr val="FBAE40"/>
          </p15:clr>
        </p15:guide>
        <p15:guide id="5" orient="horz" pos="3839" userDrawn="1">
          <p15:clr>
            <a:srgbClr val="FBAE40"/>
          </p15:clr>
        </p15:guide>
        <p15:guide id="6" orient="horz" pos="4065" userDrawn="1">
          <p15:clr>
            <a:srgbClr val="FBAE40"/>
          </p15:clr>
        </p15:guide>
        <p15:guide id="7" orient="horz" pos="777" userDrawn="1">
          <p15:clr>
            <a:srgbClr val="FBAE40"/>
          </p15:clr>
        </p15:guide>
        <p15:guide id="8"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188C000-1976-4EBA-A9A0-FDBCB4E0B505}"/>
              </a:ext>
            </a:extLst>
          </p:cNvPr>
          <p:cNvGraphicFramePr>
            <a:graphicFrameLocks noChangeAspect="1"/>
          </p:cNvGraphicFramePr>
          <p:nvPr userDrawn="1">
            <p:custDataLst>
              <p:tags r:id="rId33"/>
            </p:custDataLst>
            <p:extLst>
              <p:ext uri="{D42A27DB-BD31-4B8C-83A1-F6EECF244321}">
                <p14:modId xmlns:p14="http://schemas.microsoft.com/office/powerpoint/2010/main" val="4234387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411" imgH="412" progId="TCLayout.ActiveDocument.1">
                  <p:embed/>
                </p:oleObj>
              </mc:Choice>
              <mc:Fallback>
                <p:oleObj name="think-cell Folie" r:id="rId34" imgW="411" imgH="412"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grpSp>
        <p:nvGrpSpPr>
          <p:cNvPr id="47" name="Vermaßung"/>
          <p:cNvGrpSpPr/>
          <p:nvPr/>
        </p:nvGrpSpPr>
        <p:grpSpPr bwMode="gray">
          <a:xfrm>
            <a:off x="-346040" y="-294847"/>
            <a:ext cx="12340534" cy="7452206"/>
            <a:chOff x="-345996" y="-294916"/>
            <a:chExt cx="12338928" cy="7453932"/>
          </a:xfrm>
        </p:grpSpPr>
        <p:cxnSp>
          <p:nvCxnSpPr>
            <p:cNvPr id="41" name="Vermaßung"/>
            <p:cNvCxnSpPr/>
            <p:nvPr/>
          </p:nvCxnSpPr>
          <p:spPr bwMode="gray">
            <a:xfrm flipV="1">
              <a:off x="4289180" y="6867340"/>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42" name="Vermaßung"/>
            <p:cNvCxnSpPr/>
            <p:nvPr/>
          </p:nvCxnSpPr>
          <p:spPr bwMode="gray">
            <a:xfrm flipV="1">
              <a:off x="6163700" y="6867340"/>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43" name="Vermaßung"/>
            <p:cNvCxnSpPr/>
            <p:nvPr/>
          </p:nvCxnSpPr>
          <p:spPr bwMode="gray">
            <a:xfrm flipV="1">
              <a:off x="8034409" y="6867340"/>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44" name="Vermaßung"/>
            <p:cNvSpPr txBox="1"/>
            <p:nvPr/>
          </p:nvSpPr>
          <p:spPr bwMode="gray">
            <a:xfrm>
              <a:off x="4277023" y="7015016"/>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5,00</a:t>
              </a:r>
            </a:p>
          </p:txBody>
        </p:sp>
        <p:sp>
          <p:nvSpPr>
            <p:cNvPr id="45" name="Vermaßung"/>
            <p:cNvSpPr txBox="1"/>
            <p:nvPr/>
          </p:nvSpPr>
          <p:spPr bwMode="gray">
            <a:xfrm>
              <a:off x="6145828" y="7015016"/>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0,20</a:t>
              </a:r>
            </a:p>
          </p:txBody>
        </p:sp>
        <p:sp>
          <p:nvSpPr>
            <p:cNvPr id="46" name="Vermaßung"/>
            <p:cNvSpPr txBox="1"/>
            <p:nvPr/>
          </p:nvSpPr>
          <p:spPr bwMode="gray">
            <a:xfrm>
              <a:off x="8024157" y="7015016"/>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5,4</a:t>
              </a:r>
            </a:p>
          </p:txBody>
        </p:sp>
        <p:cxnSp>
          <p:nvCxnSpPr>
            <p:cNvPr id="26" name="Vermaßung"/>
            <p:cNvCxnSpPr/>
            <p:nvPr/>
          </p:nvCxnSpPr>
          <p:spPr bwMode="gray">
            <a:xfrm flipV="1">
              <a:off x="549275" y="-294916"/>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7" name="Vermaßung"/>
            <p:cNvCxnSpPr/>
            <p:nvPr/>
          </p:nvCxnSpPr>
          <p:spPr bwMode="gray">
            <a:xfrm flipV="1">
              <a:off x="11639822" y="-294916"/>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1" name="Vermaßung"/>
            <p:cNvCxnSpPr/>
            <p:nvPr/>
          </p:nvCxnSpPr>
          <p:spPr bwMode="gray">
            <a:xfrm flipV="1">
              <a:off x="4149023" y="-294916"/>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7" name="Vermaßung"/>
            <p:cNvCxnSpPr/>
            <p:nvPr/>
          </p:nvCxnSpPr>
          <p:spPr bwMode="gray">
            <a:xfrm flipV="1">
              <a:off x="6021638" y="-294916"/>
              <a:ext cx="0" cy="28800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39" name="Vermaßung"/>
            <p:cNvCxnSpPr/>
            <p:nvPr/>
          </p:nvCxnSpPr>
          <p:spPr bwMode="gray">
            <a:xfrm flipV="1">
              <a:off x="7894252" y="-294916"/>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24" name="Vermaßung"/>
            <p:cNvSpPr txBox="1"/>
            <p:nvPr/>
          </p:nvSpPr>
          <p:spPr bwMode="gray">
            <a:xfrm>
              <a:off x="11632932" y="-142267"/>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15,40</a:t>
              </a:r>
            </a:p>
          </p:txBody>
        </p:sp>
        <p:sp>
          <p:nvSpPr>
            <p:cNvPr id="25" name="Vermaßung"/>
            <p:cNvSpPr txBox="1"/>
            <p:nvPr/>
          </p:nvSpPr>
          <p:spPr bwMode="gray">
            <a:xfrm>
              <a:off x="523081" y="-142267"/>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15,40</a:t>
              </a:r>
            </a:p>
          </p:txBody>
        </p:sp>
        <p:sp>
          <p:nvSpPr>
            <p:cNvPr id="32" name="Vermaßung"/>
            <p:cNvSpPr txBox="1"/>
            <p:nvPr/>
          </p:nvSpPr>
          <p:spPr bwMode="gray">
            <a:xfrm>
              <a:off x="4136866" y="-147240"/>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5,40</a:t>
              </a:r>
            </a:p>
          </p:txBody>
        </p:sp>
        <p:sp>
          <p:nvSpPr>
            <p:cNvPr id="38" name="Vermaßung"/>
            <p:cNvSpPr txBox="1"/>
            <p:nvPr/>
          </p:nvSpPr>
          <p:spPr bwMode="gray">
            <a:xfrm>
              <a:off x="6005671" y="-147240"/>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0,20</a:t>
              </a:r>
            </a:p>
          </p:txBody>
        </p:sp>
        <p:sp>
          <p:nvSpPr>
            <p:cNvPr id="40" name="Vermaßung"/>
            <p:cNvSpPr txBox="1"/>
            <p:nvPr/>
          </p:nvSpPr>
          <p:spPr bwMode="gray">
            <a:xfrm>
              <a:off x="7884000" y="-147240"/>
              <a:ext cx="360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l">
                <a:lnSpc>
                  <a:spcPct val="100000"/>
                </a:lnSpc>
              </a:pPr>
              <a:r>
                <a:rPr lang="de-DE" sz="800" kern="0" baseline="0" dirty="0">
                  <a:solidFill>
                    <a:schemeClr val="tx2"/>
                  </a:solidFill>
                  <a:latin typeface="Arial" panose="020B0604020202020204" pitchFamily="34" charset="0"/>
                </a:rPr>
                <a:t>5,0</a:t>
              </a:r>
            </a:p>
          </p:txBody>
        </p:sp>
        <p:sp>
          <p:nvSpPr>
            <p:cNvPr id="11" name="Vermaßung"/>
            <p:cNvSpPr txBox="1"/>
            <p:nvPr/>
          </p:nvSpPr>
          <p:spPr bwMode="gray">
            <a:xfrm>
              <a:off x="-343330" y="318823"/>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8,20</a:t>
              </a:r>
            </a:p>
          </p:txBody>
        </p:sp>
        <p:cxnSp>
          <p:nvCxnSpPr>
            <p:cNvPr id="12" name="Vermaßung"/>
            <p:cNvCxnSpPr/>
            <p:nvPr/>
          </p:nvCxnSpPr>
          <p:spPr bwMode="gray">
            <a:xfrm rot="5400000" flipV="1">
              <a:off x="-180000" y="332250"/>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13" name="Vermaßung"/>
            <p:cNvSpPr txBox="1"/>
            <p:nvPr/>
          </p:nvSpPr>
          <p:spPr bwMode="gray">
            <a:xfrm>
              <a:off x="-345996" y="751447"/>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7,00</a:t>
              </a:r>
            </a:p>
          </p:txBody>
        </p:sp>
        <p:cxnSp>
          <p:nvCxnSpPr>
            <p:cNvPr id="14" name="Vermaßung"/>
            <p:cNvCxnSpPr/>
            <p:nvPr/>
          </p:nvCxnSpPr>
          <p:spPr bwMode="gray">
            <a:xfrm rot="5400000" flipV="1">
              <a:off x="-180000" y="764050"/>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15" name="Vermaßung"/>
            <p:cNvSpPr txBox="1"/>
            <p:nvPr/>
          </p:nvSpPr>
          <p:spPr bwMode="gray">
            <a:xfrm>
              <a:off x="-345996" y="1363447"/>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5,20</a:t>
              </a:r>
            </a:p>
          </p:txBody>
        </p:sp>
        <p:cxnSp>
          <p:nvCxnSpPr>
            <p:cNvPr id="16" name="Vermaßung"/>
            <p:cNvCxnSpPr/>
            <p:nvPr/>
          </p:nvCxnSpPr>
          <p:spPr bwMode="gray">
            <a:xfrm rot="5400000" flipV="1">
              <a:off x="-180000" y="1413794"/>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17" name="Vermaßung"/>
            <p:cNvSpPr txBox="1"/>
            <p:nvPr/>
          </p:nvSpPr>
          <p:spPr bwMode="gray">
            <a:xfrm>
              <a:off x="-345996" y="5662058"/>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6,60</a:t>
              </a:r>
            </a:p>
          </p:txBody>
        </p:sp>
        <p:cxnSp>
          <p:nvCxnSpPr>
            <p:cNvPr id="18" name="Vermaßung"/>
            <p:cNvCxnSpPr/>
            <p:nvPr/>
          </p:nvCxnSpPr>
          <p:spPr bwMode="gray">
            <a:xfrm rot="5400000" flipV="1">
              <a:off x="-165996" y="5659273"/>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19" name="Vermaßung"/>
            <p:cNvSpPr txBox="1"/>
            <p:nvPr/>
          </p:nvSpPr>
          <p:spPr bwMode="gray">
            <a:xfrm>
              <a:off x="-345996" y="5934653"/>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7,40</a:t>
              </a:r>
            </a:p>
          </p:txBody>
        </p:sp>
        <p:cxnSp>
          <p:nvCxnSpPr>
            <p:cNvPr id="20" name="Vermaßung"/>
            <p:cNvCxnSpPr/>
            <p:nvPr/>
          </p:nvCxnSpPr>
          <p:spPr bwMode="gray">
            <a:xfrm rot="5400000" flipV="1">
              <a:off x="-180000" y="5948825"/>
              <a:ext cx="0" cy="288000"/>
            </a:xfrm>
            <a:prstGeom prst="line">
              <a:avLst/>
            </a:prstGeom>
            <a:ln/>
          </p:spPr>
          <p:style>
            <a:lnRef idx="1">
              <a:schemeClr val="accent6"/>
            </a:lnRef>
            <a:fillRef idx="0">
              <a:schemeClr val="accent6"/>
            </a:fillRef>
            <a:effectRef idx="0">
              <a:schemeClr val="accent6"/>
            </a:effectRef>
            <a:fontRef idx="minor">
              <a:schemeClr val="tx1"/>
            </a:fontRef>
          </p:style>
        </p:cxnSp>
        <p:sp>
          <p:nvSpPr>
            <p:cNvPr id="21" name="Vermaßung"/>
            <p:cNvSpPr txBox="1"/>
            <p:nvPr/>
          </p:nvSpPr>
          <p:spPr bwMode="gray">
            <a:xfrm>
              <a:off x="-345996" y="6294448"/>
              <a:ext cx="324000" cy="144000"/>
            </a:xfrm>
            <a:prstGeom prst="rect">
              <a:avLst/>
            </a:prstGeom>
            <a:noFill/>
            <a:ln w="12700">
              <a:noFill/>
            </a:ln>
          </p:spPr>
          <p:txBody>
            <a:bodyPr wrap="square" lIns="36000" tIns="0" rIns="3600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lnSpc>
                  <a:spcPct val="100000"/>
                </a:lnSpc>
              </a:pPr>
              <a:r>
                <a:rPr lang="de-DE" sz="800" kern="0" baseline="0" dirty="0">
                  <a:solidFill>
                    <a:schemeClr val="tx2"/>
                  </a:solidFill>
                  <a:latin typeface="Arial" panose="020B0604020202020204" pitchFamily="34" charset="0"/>
                </a:rPr>
                <a:t>8,40</a:t>
              </a:r>
            </a:p>
          </p:txBody>
        </p:sp>
        <p:cxnSp>
          <p:nvCxnSpPr>
            <p:cNvPr id="22" name="Vermaßung"/>
            <p:cNvCxnSpPr/>
            <p:nvPr/>
          </p:nvCxnSpPr>
          <p:spPr bwMode="gray">
            <a:xfrm rot="5400000" flipV="1">
              <a:off x="-180000" y="6309188"/>
              <a:ext cx="0" cy="288000"/>
            </a:xfrm>
            <a:prstGeom prst="line">
              <a:avLst/>
            </a:prstGeom>
            <a:ln/>
          </p:spPr>
          <p:style>
            <a:lnRef idx="1">
              <a:schemeClr val="accent6"/>
            </a:lnRef>
            <a:fillRef idx="0">
              <a:schemeClr val="accent6"/>
            </a:fillRef>
            <a:effectRef idx="0">
              <a:schemeClr val="accent6"/>
            </a:effectRef>
            <a:fontRef idx="minor">
              <a:schemeClr val="tx1"/>
            </a:fontRef>
          </p:style>
        </p:cxnSp>
      </p:grpSp>
      <p:sp>
        <p:nvSpPr>
          <p:cNvPr id="2" name="Titel"/>
          <p:cNvSpPr>
            <a:spLocks noGrp="1"/>
          </p:cNvSpPr>
          <p:nvPr>
            <p:ph type="title"/>
          </p:nvPr>
        </p:nvSpPr>
        <p:spPr bwMode="gray">
          <a:xfrm>
            <a:off x="549347" y="906992"/>
            <a:ext cx="11089442" cy="647849"/>
          </a:xfrm>
          <a:prstGeom prst="rect">
            <a:avLst/>
          </a:prstGeom>
        </p:spPr>
        <p:txBody>
          <a:bodyPr vert="horz" lIns="0" tIns="0" rIns="0" bIns="0" rtlCol="0" anchor="t">
            <a:noAutofit/>
          </a:bodyPr>
          <a:lstStyle/>
          <a:p>
            <a:r>
              <a:rPr lang="de-DE" noProof="0" dirty="0"/>
              <a:t>Topic </a:t>
            </a:r>
            <a:r>
              <a:rPr lang="de-DE" noProof="0" dirty="0" err="1"/>
              <a:t>of</a:t>
            </a:r>
            <a:r>
              <a:rPr lang="de-DE" noProof="0" dirty="0"/>
              <a:t> </a:t>
            </a:r>
            <a:r>
              <a:rPr lang="de-DE" noProof="0" dirty="0" err="1"/>
              <a:t>the</a:t>
            </a:r>
            <a:r>
              <a:rPr lang="de-DE" noProof="0" dirty="0"/>
              <a:t> </a:t>
            </a:r>
            <a:r>
              <a:rPr lang="de-DE" noProof="0" dirty="0" err="1"/>
              <a:t>slide</a:t>
            </a:r>
            <a:endParaRPr lang="de-DE" noProof="0" dirty="0"/>
          </a:p>
        </p:txBody>
      </p:sp>
      <p:sp>
        <p:nvSpPr>
          <p:cNvPr id="3" name="Textbox"/>
          <p:cNvSpPr>
            <a:spLocks noGrp="1"/>
          </p:cNvSpPr>
          <p:nvPr>
            <p:ph type="body" idx="1"/>
          </p:nvPr>
        </p:nvSpPr>
        <p:spPr bwMode="gray">
          <a:xfrm>
            <a:off x="551280" y="1557434"/>
            <a:ext cx="11089444" cy="4247016"/>
          </a:xfrm>
          <a:prstGeom prst="rect">
            <a:avLst/>
          </a:prstGeom>
        </p:spPr>
        <p:txBody>
          <a:bodyPr vert="horz" lIns="0" tIns="72000" rIns="0" bIns="72000" rtlCol="0">
            <a:noAutofit/>
          </a:bodyPr>
          <a:lstStyle/>
          <a:p>
            <a:pPr marL="270009" lvl="0" indent="-270009" defTabSz="914430">
              <a:spcAft>
                <a:spcPts val="0"/>
              </a:spcAft>
              <a:buClr>
                <a:schemeClr val="accent2"/>
              </a:buClr>
              <a:buFont typeface="Wingdings" panose="05000000000000000000" pitchFamily="2" charset="2"/>
            </a:pPr>
            <a:r>
              <a:rPr lang="de-DE" dirty="0"/>
              <a:t>First </a:t>
            </a:r>
            <a:r>
              <a:rPr lang="de-DE" dirty="0" err="1"/>
              <a:t>level</a:t>
            </a:r>
            <a:endParaRPr lang="de-DE" noProof="0" dirty="0"/>
          </a:p>
          <a:p>
            <a:pPr marL="720024" lvl="1" indent="-270009" defTabSz="914430">
              <a:spcAft>
                <a:spcPts val="0"/>
              </a:spcAft>
              <a:buClr>
                <a:schemeClr val="accent2"/>
              </a:buClr>
              <a:buFont typeface="Wingdings" panose="05000000000000000000" pitchFamily="2" charset="2"/>
            </a:pPr>
            <a:r>
              <a:rPr lang="de-DE" noProof="0" dirty="0"/>
              <a:t>Second </a:t>
            </a:r>
            <a:r>
              <a:rPr lang="de-DE" noProof="0" dirty="0" err="1"/>
              <a:t>level</a:t>
            </a:r>
            <a:endParaRPr lang="de-DE" noProof="0" dirty="0"/>
          </a:p>
          <a:p>
            <a:pPr marL="1080036" lvl="2" indent="-270009" defTabSz="914430">
              <a:spcAft>
                <a:spcPts val="0"/>
              </a:spcAft>
              <a:buClr>
                <a:schemeClr val="accent2"/>
              </a:buClr>
              <a:buFont typeface="Wingdings" panose="05000000000000000000" pitchFamily="2" charset="2"/>
            </a:pPr>
            <a:r>
              <a:rPr lang="de-DE" noProof="0" dirty="0"/>
              <a:t>Third </a:t>
            </a:r>
            <a:r>
              <a:rPr lang="de-DE" noProof="0" dirty="0" err="1"/>
              <a:t>level</a:t>
            </a:r>
            <a:endParaRPr lang="de-DE" noProof="0" dirty="0"/>
          </a:p>
          <a:p>
            <a:pPr marL="1440048" lvl="3" indent="-270009" defTabSz="914430">
              <a:spcAft>
                <a:spcPts val="0"/>
              </a:spcAft>
              <a:buClr>
                <a:schemeClr val="accent2"/>
              </a:buClr>
              <a:buFont typeface="Wingdings" panose="05000000000000000000" pitchFamily="2" charset="2"/>
            </a:pPr>
            <a:r>
              <a:rPr lang="de-DE" noProof="0" dirty="0" err="1"/>
              <a:t>Fourth</a:t>
            </a:r>
            <a:r>
              <a:rPr lang="de-DE" noProof="0" dirty="0"/>
              <a:t> </a:t>
            </a:r>
            <a:r>
              <a:rPr lang="de-DE" noProof="0" dirty="0" err="1"/>
              <a:t>level</a:t>
            </a:r>
            <a:endParaRPr lang="de-DE" noProof="0" dirty="0"/>
          </a:p>
          <a:p>
            <a:pPr marL="1800060" lvl="4" indent="-270009" defTabSz="914430">
              <a:spcAft>
                <a:spcPts val="0"/>
              </a:spcAft>
              <a:buClr>
                <a:schemeClr val="accent2"/>
              </a:buClr>
              <a:buFont typeface="Wingdings" panose="05000000000000000000" pitchFamily="2" charset="2"/>
            </a:pPr>
            <a:r>
              <a:rPr lang="de-DE" noProof="0" dirty="0" err="1"/>
              <a:t>Fifth</a:t>
            </a:r>
            <a:r>
              <a:rPr lang="de-DE" noProof="0" dirty="0"/>
              <a:t> </a:t>
            </a:r>
            <a:r>
              <a:rPr lang="de-DE" noProof="0" dirty="0" err="1"/>
              <a:t>level</a:t>
            </a:r>
            <a:endParaRPr lang="de-DE" noProof="0" dirty="0"/>
          </a:p>
          <a:p>
            <a:pPr marL="2160072" lvl="5" indent="-270009" defTabSz="914430">
              <a:lnSpc>
                <a:spcPct val="100000"/>
              </a:lnSpc>
              <a:spcAft>
                <a:spcPts val="0"/>
              </a:spcAft>
              <a:buClr>
                <a:schemeClr val="accent2"/>
              </a:buClr>
              <a:buFont typeface="Wingdings" panose="05000000000000000000" pitchFamily="2" charset="2"/>
            </a:pPr>
            <a:r>
              <a:rPr lang="de-DE" noProof="0" dirty="0" err="1"/>
              <a:t>Sixth</a:t>
            </a:r>
            <a:r>
              <a:rPr lang="de-DE" noProof="0" dirty="0"/>
              <a:t> </a:t>
            </a:r>
            <a:r>
              <a:rPr lang="de-DE" noProof="0" dirty="0" err="1"/>
              <a:t>level</a:t>
            </a:r>
            <a:endParaRPr lang="de-DE" noProof="0" dirty="0"/>
          </a:p>
          <a:p>
            <a:pPr marL="2520084" lvl="6" indent="-270009" defTabSz="914430">
              <a:lnSpc>
                <a:spcPct val="100000"/>
              </a:lnSpc>
              <a:spcAft>
                <a:spcPts val="0"/>
              </a:spcAft>
              <a:buClr>
                <a:schemeClr val="accent2"/>
              </a:buClr>
              <a:buFont typeface="Wingdings" panose="05000000000000000000" pitchFamily="2" charset="2"/>
            </a:pPr>
            <a:r>
              <a:rPr lang="de-DE" noProof="0" dirty="0" err="1"/>
              <a:t>Seventh</a:t>
            </a:r>
            <a:r>
              <a:rPr lang="de-DE" noProof="0" dirty="0"/>
              <a:t> </a:t>
            </a:r>
            <a:r>
              <a:rPr lang="de-DE" noProof="0" dirty="0" err="1"/>
              <a:t>level</a:t>
            </a:r>
            <a:endParaRPr lang="de-DE" noProof="0" dirty="0"/>
          </a:p>
        </p:txBody>
      </p:sp>
      <p:sp>
        <p:nvSpPr>
          <p:cNvPr id="35" name="Fußzeile">
            <a:extLst>
              <a:ext uri="{FF2B5EF4-FFF2-40B4-BE49-F238E27FC236}">
                <a16:creationId xmlns:a16="http://schemas.microsoft.com/office/drawing/2014/main" id="{3A288C61-AF3D-46C0-9B7C-A10C836A0195}"/>
              </a:ext>
            </a:extLst>
          </p:cNvPr>
          <p:cNvSpPr>
            <a:spLocks noGrp="1"/>
          </p:cNvSpPr>
          <p:nvPr>
            <p:ph type="ftr" sz="quarter" idx="3"/>
          </p:nvPr>
        </p:nvSpPr>
        <p:spPr bwMode="gray">
          <a:xfrm>
            <a:off x="864115" y="6091416"/>
            <a:ext cx="5233473" cy="359916"/>
          </a:xfrm>
          <a:prstGeom prst="rect">
            <a:avLst/>
          </a:prstGeom>
        </p:spPr>
        <p:txBody>
          <a:bodyPr vert="horz" lIns="0" tIns="0" rIns="0" bIns="0" rtlCol="0" anchor="ctr"/>
          <a:lstStyle>
            <a:lvl1pPr algn="l">
              <a:defRPr sz="1000">
                <a:solidFill>
                  <a:schemeClr val="tx1"/>
                </a:solidFill>
              </a:defRPr>
            </a:lvl1pPr>
          </a:lstStyle>
          <a:p>
            <a:r>
              <a:rPr lang="en-US"/>
              <a:t>Updated January 2023</a:t>
            </a:r>
            <a:endParaRPr lang="de-DE" dirty="0"/>
          </a:p>
        </p:txBody>
      </p:sp>
      <p:sp>
        <p:nvSpPr>
          <p:cNvPr id="36" name="Foliennummer">
            <a:extLst>
              <a:ext uri="{FF2B5EF4-FFF2-40B4-BE49-F238E27FC236}">
                <a16:creationId xmlns:a16="http://schemas.microsoft.com/office/drawing/2014/main" id="{B800D8FD-0523-4395-B6F1-D5E21647DE1C}"/>
              </a:ext>
            </a:extLst>
          </p:cNvPr>
          <p:cNvSpPr>
            <a:spLocks noGrp="1"/>
          </p:cNvSpPr>
          <p:nvPr>
            <p:ph type="sldNum" sz="quarter" idx="4"/>
          </p:nvPr>
        </p:nvSpPr>
        <p:spPr bwMode="gray">
          <a:xfrm>
            <a:off x="549345" y="6091416"/>
            <a:ext cx="252034" cy="359916"/>
          </a:xfrm>
          <a:prstGeom prst="rect">
            <a:avLst/>
          </a:prstGeom>
        </p:spPr>
        <p:txBody>
          <a:bodyPr vert="horz" lIns="0" tIns="0" rIns="0" bIns="0" rtlCol="0" anchor="ctr"/>
          <a:lstStyle>
            <a:lvl1pPr algn="l">
              <a:defRPr sz="1000">
                <a:solidFill>
                  <a:schemeClr val="tx1"/>
                </a:solidFill>
              </a:defRPr>
            </a:lvl1pPr>
          </a:lstStyle>
          <a:p>
            <a:fld id="{B227C86F-CC2D-492F-A88C-C748186E73FB}" type="slidenum">
              <a:rPr lang="de-DE" smtClean="0"/>
              <a:pPr/>
              <a:t>‹#›</a:t>
            </a:fld>
            <a:endParaRPr lang="de-DE" dirty="0"/>
          </a:p>
        </p:txBody>
      </p:sp>
      <p:sp>
        <p:nvSpPr>
          <p:cNvPr id="48" name="PPT Version">
            <a:extLst>
              <a:ext uri="{FF2B5EF4-FFF2-40B4-BE49-F238E27FC236}">
                <a16:creationId xmlns:a16="http://schemas.microsoft.com/office/drawing/2014/main" id="{FFF216E2-82AD-49A6-BE80-58AC890679F5}"/>
              </a:ext>
            </a:extLst>
          </p:cNvPr>
          <p:cNvSpPr txBox="1">
            <a:spLocks noChangeArrowheads="1"/>
          </p:cNvSpPr>
          <p:nvPr userDrawn="1"/>
        </p:nvSpPr>
        <p:spPr bwMode="gray">
          <a:xfrm>
            <a:off x="12442523" y="6178843"/>
            <a:ext cx="720094" cy="215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5" tIns="0" rIns="36005" bIns="0">
            <a:noAutofit/>
          </a:bodyPr>
          <a:lstStyle/>
          <a:p>
            <a:r>
              <a:rPr lang="de-DE" sz="1300" dirty="0">
                <a:solidFill>
                  <a:schemeClr val="tx1"/>
                </a:solidFill>
                <a:latin typeface="Arial" panose="020B0604020202020204" pitchFamily="34" charset="0"/>
              </a:rPr>
              <a:t>2023-1 en</a:t>
            </a:r>
          </a:p>
        </p:txBody>
      </p:sp>
    </p:spTree>
    <p:extLst>
      <p:ext uri="{BB962C8B-B14F-4D97-AF65-F5344CB8AC3E}">
        <p14:creationId xmlns:p14="http://schemas.microsoft.com/office/powerpoint/2010/main" val="1920591836"/>
      </p:ext>
    </p:extLst>
  </p:cSld>
  <p:clrMap bg1="lt1" tx1="dk1" bg2="lt2" tx2="dk2" accent1="accent1" accent2="accent2" accent3="accent3" accent4="accent4" accent5="accent5" accent6="accent6" hlink="hlink" folHlink="folHlink"/>
  <p:sldLayoutIdLst>
    <p:sldLayoutId id="2147483730" r:id="rId1"/>
    <p:sldLayoutId id="2147483755" r:id="rId2"/>
    <p:sldLayoutId id="2147483756" r:id="rId3"/>
    <p:sldLayoutId id="2147483757" r:id="rId4"/>
    <p:sldLayoutId id="2147483738" r:id="rId5"/>
    <p:sldLayoutId id="2147483707" r:id="rId6"/>
    <p:sldLayoutId id="2147483741" r:id="rId7"/>
    <p:sldLayoutId id="2147483743" r:id="rId8"/>
    <p:sldLayoutId id="2147483744" r:id="rId9"/>
    <p:sldLayoutId id="2147483666" r:id="rId10"/>
    <p:sldLayoutId id="2147483667" r:id="rId11"/>
    <p:sldLayoutId id="2147483747" r:id="rId12"/>
    <p:sldLayoutId id="2147483690" r:id="rId13"/>
    <p:sldLayoutId id="2147483763" r:id="rId14"/>
    <p:sldLayoutId id="2147483760" r:id="rId15"/>
    <p:sldLayoutId id="2147483761" r:id="rId16"/>
    <p:sldLayoutId id="2147483762" r:id="rId17"/>
    <p:sldLayoutId id="2147483737" r:id="rId18"/>
    <p:sldLayoutId id="2147483714" r:id="rId19"/>
    <p:sldLayoutId id="2147483724" r:id="rId20"/>
    <p:sldLayoutId id="2147483722" r:id="rId21"/>
    <p:sldLayoutId id="2147483723" r:id="rId22"/>
    <p:sldLayoutId id="2147483699" r:id="rId23"/>
    <p:sldLayoutId id="2147483698" r:id="rId24"/>
    <p:sldLayoutId id="2147483706" r:id="rId25"/>
    <p:sldLayoutId id="2147483726" r:id="rId26"/>
    <p:sldLayoutId id="2147483728" r:id="rId27"/>
    <p:sldLayoutId id="2147483663" r:id="rId28"/>
    <p:sldLayoutId id="2147483718" r:id="rId29"/>
    <p:sldLayoutId id="2147483758" r:id="rId30"/>
    <p:sldLayoutId id="2147483759" r:id="rId3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30" rtl="0" eaLnBrk="1" latinLnBrk="0" hangingPunct="1">
        <a:spcBef>
          <a:spcPct val="0"/>
        </a:spcBef>
        <a:buNone/>
        <a:defRPr sz="2799" b="1" kern="1200">
          <a:solidFill>
            <a:schemeClr val="tx1"/>
          </a:solidFill>
          <a:latin typeface="+mj-lt"/>
          <a:ea typeface="+mj-ea"/>
          <a:cs typeface="+mj-cs"/>
        </a:defRPr>
      </a:lvl1pPr>
    </p:titleStyle>
    <p:bodyStyle>
      <a:lvl1pPr marL="204788" indent="-204788" algn="l" defTabSz="914430" rtl="0" eaLnBrk="1" latinLnBrk="0" hangingPunct="1">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000" baseline="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6"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6"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7" algn="l" defTabSz="914430" rtl="0" eaLnBrk="1" latinLnBrk="0" hangingPunct="1">
        <a:defRPr sz="1800" kern="1200">
          <a:solidFill>
            <a:schemeClr val="tx1"/>
          </a:solidFill>
          <a:latin typeface="+mn-lt"/>
          <a:ea typeface="+mn-ea"/>
          <a:cs typeface="+mn-cs"/>
        </a:defRPr>
      </a:lvl6pPr>
      <a:lvl7pPr marL="2743290" algn="l" defTabSz="914430" rtl="0" eaLnBrk="1" latinLnBrk="0" hangingPunct="1">
        <a:defRPr sz="1800" kern="1200">
          <a:solidFill>
            <a:schemeClr val="tx1"/>
          </a:solidFill>
          <a:latin typeface="+mn-lt"/>
          <a:ea typeface="+mn-ea"/>
          <a:cs typeface="+mn-cs"/>
        </a:defRPr>
      </a:lvl7pPr>
      <a:lvl8pPr marL="3200507"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1" userDrawn="1">
          <p15:clr>
            <a:srgbClr val="F26B43"/>
          </p15:clr>
        </p15:guide>
        <p15:guide id="2" orient="horz" pos="301" userDrawn="1">
          <p15:clr>
            <a:srgbClr val="F26B43"/>
          </p15:clr>
        </p15:guide>
        <p15:guide id="3" orient="horz" pos="573" userDrawn="1">
          <p15:clr>
            <a:srgbClr val="F26B43"/>
          </p15:clr>
        </p15:guide>
        <p15:guide id="4" orient="horz" pos="982" userDrawn="1">
          <p15:clr>
            <a:srgbClr val="F26B43"/>
          </p15:clr>
        </p15:guide>
        <p15:guide id="8" orient="horz" pos="2160" userDrawn="1">
          <p15:clr>
            <a:srgbClr val="F26B43"/>
          </p15:clr>
        </p15:guide>
        <p15:guide id="9" pos="347" userDrawn="1">
          <p15:clr>
            <a:srgbClr val="F26B43"/>
          </p15:clr>
        </p15:guide>
        <p15:guide id="14" pos="7333" userDrawn="1">
          <p15:clr>
            <a:srgbClr val="F26B43"/>
          </p15:clr>
        </p15:guide>
        <p15:guide id="15" orient="horz" pos="3657" userDrawn="1">
          <p15:clr>
            <a:srgbClr val="F26B43"/>
          </p15:clr>
        </p15:guide>
        <p15:guide id="16" orient="horz" pos="3838" userDrawn="1">
          <p15:clr>
            <a:srgbClr val="F26B43"/>
          </p15:clr>
        </p15:guide>
        <p15:guide id="17" orient="horz" pos="406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45.jpe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48.jpg"/><Relationship Id="rId4" Type="http://schemas.openxmlformats.org/officeDocument/2006/relationships/image" Target="../media/image47.jpeg"/></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51.jpg"/><Relationship Id="rId4" Type="http://schemas.openxmlformats.org/officeDocument/2006/relationships/image" Target="../media/image50.jpeg"/></Relationships>
</file>

<file path=ppt/slides/_rels/slide1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54.jpg"/><Relationship Id="rId4" Type="http://schemas.openxmlformats.org/officeDocument/2006/relationships/image" Target="../media/image53.jpg"/></Relationships>
</file>

<file path=ppt/slides/_rels/slide14.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57.jpg"/><Relationship Id="rId4" Type="http://schemas.openxmlformats.org/officeDocument/2006/relationships/image" Target="../media/image56.jpg"/></Relationships>
</file>

<file path=ppt/slides/_rels/slide1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jpeg"/></Relationships>
</file>

<file path=ppt/slides/_rels/slide16.xml.rels><?xml version="1.0" encoding="UTF-8" standalone="yes"?>
<Relationships xmlns="http://schemas.openxmlformats.org/package/2006/relationships"><Relationship Id="rId3" Type="http://schemas.openxmlformats.org/officeDocument/2006/relationships/image" Target="../media/image62.jpg"/><Relationship Id="rId7" Type="http://schemas.openxmlformats.org/officeDocument/2006/relationships/image" Target="../media/image66.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17.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7.jpeg"/><Relationship Id="rId7" Type="http://schemas.openxmlformats.org/officeDocument/2006/relationships/image" Target="../media/image71.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70.jpg"/><Relationship Id="rId5" Type="http://schemas.openxmlformats.org/officeDocument/2006/relationships/image" Target="../media/image69.jpeg"/><Relationship Id="rId4" Type="http://schemas.openxmlformats.org/officeDocument/2006/relationships/image" Target="../media/image68.jpg"/></Relationships>
</file>

<file path=ppt/slides/_rels/slide18.xml.rels><?xml version="1.0" encoding="UTF-8" standalone="yes"?>
<Relationships xmlns="http://schemas.openxmlformats.org/package/2006/relationships"><Relationship Id="rId3" Type="http://schemas.openxmlformats.org/officeDocument/2006/relationships/image" Target="../media/image73.jpeg"/><Relationship Id="rId7" Type="http://schemas.openxmlformats.org/officeDocument/2006/relationships/image" Target="../media/image77.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19.xml.rels><?xml version="1.0" encoding="UTF-8" standalone="yes"?>
<Relationships xmlns="http://schemas.openxmlformats.org/package/2006/relationships"><Relationship Id="rId3" Type="http://schemas.openxmlformats.org/officeDocument/2006/relationships/image" Target="../media/image78.wmf"/><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81.png"/><Relationship Id="rId5" Type="http://schemas.openxmlformats.org/officeDocument/2006/relationships/image" Target="../media/image80.JP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8.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hyperlink" Target="mailto:mschwartz@phoenixcontact.com" TargetMode="External"/><Relationship Id="rId5" Type="http://schemas.openxmlformats.org/officeDocument/2006/relationships/hyperlink" Target="mailto:mschierscher@phoenixcontact.com" TargetMode="External"/><Relationship Id="rId4" Type="http://schemas.openxmlformats.org/officeDocument/2006/relationships/image" Target="../media/image17.jpg"/></Relationships>
</file>

<file path=ppt/slides/_rels/slide20.xml.rels><?xml version="1.0" encoding="UTF-8" standalone="yes"?>
<Relationships xmlns="http://schemas.openxmlformats.org/package/2006/relationships"><Relationship Id="rId3" Type="http://schemas.openxmlformats.org/officeDocument/2006/relationships/image" Target="../media/image82.jpeg"/><Relationship Id="rId7" Type="http://schemas.openxmlformats.org/officeDocument/2006/relationships/image" Target="../media/image86.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21.xml.rels><?xml version="1.0" encoding="UTF-8" standalone="yes"?>
<Relationships xmlns="http://schemas.openxmlformats.org/package/2006/relationships"><Relationship Id="rId3" Type="http://schemas.openxmlformats.org/officeDocument/2006/relationships/image" Target="../media/image87.jpeg"/><Relationship Id="rId7" Type="http://schemas.openxmlformats.org/officeDocument/2006/relationships/image" Target="../media/image91.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jpeg"/></Relationships>
</file>

<file path=ppt/slides/_rels/slide2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92.jpg"/><Relationship Id="rId7" Type="http://schemas.openxmlformats.org/officeDocument/2006/relationships/image" Target="../media/image96.jp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95.jpeg"/><Relationship Id="rId5" Type="http://schemas.openxmlformats.org/officeDocument/2006/relationships/image" Target="../media/image94.pn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5.jpe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99.png"/><Relationship Id="rId4" Type="http://schemas.openxmlformats.org/officeDocument/2006/relationships/image" Target="../media/image98.png"/></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image" Target="../media/image101.png"/></Relationships>
</file>

<file path=ppt/slides/_rels/slide27.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s>
</file>

<file path=ppt/slides/_rels/slide2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13.jpeg"/><Relationship Id="rId5" Type="http://schemas.openxmlformats.org/officeDocument/2006/relationships/image" Target="../media/image112.jpg"/><Relationship Id="rId4" Type="http://schemas.openxmlformats.org/officeDocument/2006/relationships/image" Target="../media/image111.jpe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78.wmf"/><Relationship Id="rId7" Type="http://schemas.openxmlformats.org/officeDocument/2006/relationships/image" Target="../media/image116.wmf"/><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15.jpg"/><Relationship Id="rId5" Type="http://schemas.openxmlformats.org/officeDocument/2006/relationships/image" Target="../media/image110.jpeg"/><Relationship Id="rId4" Type="http://schemas.openxmlformats.org/officeDocument/2006/relationships/image" Target="../media/image114.png"/></Relationships>
</file>

<file path=ppt/slides/_rels/slide31.xml.rels><?xml version="1.0" encoding="UTF-8" standalone="yes"?>
<Relationships xmlns="http://schemas.openxmlformats.org/package/2006/relationships"><Relationship Id="rId8" Type="http://schemas.openxmlformats.org/officeDocument/2006/relationships/image" Target="../media/image123.jpg"/><Relationship Id="rId13" Type="http://schemas.microsoft.com/office/2007/relationships/hdphoto" Target="../media/hdphoto2.wdp"/><Relationship Id="rId3" Type="http://schemas.openxmlformats.org/officeDocument/2006/relationships/image" Target="../media/image15.jpeg"/><Relationship Id="rId7" Type="http://schemas.openxmlformats.org/officeDocument/2006/relationships/image" Target="../media/image122.jpeg"/><Relationship Id="rId12" Type="http://schemas.openxmlformats.org/officeDocument/2006/relationships/image" Target="../media/image127.png"/><Relationship Id="rId2" Type="http://schemas.openxmlformats.org/officeDocument/2006/relationships/image" Target="../media/image118.jpg"/><Relationship Id="rId1" Type="http://schemas.openxmlformats.org/officeDocument/2006/relationships/slideLayout" Target="../slideLayouts/slideLayout6.xml"/><Relationship Id="rId6" Type="http://schemas.openxmlformats.org/officeDocument/2006/relationships/image" Target="../media/image121.jpeg"/><Relationship Id="rId11" Type="http://schemas.openxmlformats.org/officeDocument/2006/relationships/image" Target="../media/image126.png"/><Relationship Id="rId5" Type="http://schemas.openxmlformats.org/officeDocument/2006/relationships/image" Target="../media/image120.jpg"/><Relationship Id="rId10" Type="http://schemas.openxmlformats.org/officeDocument/2006/relationships/image" Target="../media/image125.png"/><Relationship Id="rId4" Type="http://schemas.openxmlformats.org/officeDocument/2006/relationships/image" Target="../media/image119.jpg"/><Relationship Id="rId9" Type="http://schemas.openxmlformats.org/officeDocument/2006/relationships/image" Target="../media/image124.jpg"/></Relationships>
</file>

<file path=ppt/slides/_rels/slide32.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8.png"/><Relationship Id="rId2" Type="http://schemas.openxmlformats.org/officeDocument/2006/relationships/image" Target="../media/image15.jpeg"/><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127.png"/><Relationship Id="rId4" Type="http://schemas.openxmlformats.org/officeDocument/2006/relationships/image" Target="../media/image126.png"/></Relationships>
</file>

<file path=ppt/slides/_rels/slide3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hyperlink" Target="http://www.phoenixcontact.com/us-TOOLfox" TargetMode="External"/><Relationship Id="rId5" Type="http://schemas.openxmlformats.org/officeDocument/2006/relationships/image" Target="../media/image130.png"/><Relationship Id="rId4" Type="http://schemas.openxmlformats.org/officeDocument/2006/relationships/image" Target="../media/image129.png"/></Relationships>
</file>

<file path=ppt/slides/_rels/slide3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image" Target="../media/image130.png"/></Relationships>
</file>

<file path=ppt/slides/_rels/slide3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37.jpeg"/><Relationship Id="rId5" Type="http://schemas.openxmlformats.org/officeDocument/2006/relationships/image" Target="../media/image136.jpeg"/><Relationship Id="rId4" Type="http://schemas.openxmlformats.org/officeDocument/2006/relationships/image" Target="../media/image135.png"/></Relationships>
</file>

<file path=ppt/slides/_rels/slide38.xml.rels><?xml version="1.0" encoding="UTF-8" standalone="yes"?>
<Relationships xmlns="http://schemas.openxmlformats.org/package/2006/relationships"><Relationship Id="rId3" Type="http://schemas.openxmlformats.org/officeDocument/2006/relationships/image" Target="../media/image138.jpeg"/><Relationship Id="rId7" Type="http://schemas.openxmlformats.org/officeDocument/2006/relationships/image" Target="../media/image142.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41.jpeg"/><Relationship Id="rId5" Type="http://schemas.openxmlformats.org/officeDocument/2006/relationships/image" Target="../media/image140.jpeg"/><Relationship Id="rId4" Type="http://schemas.openxmlformats.org/officeDocument/2006/relationships/image" Target="../media/image139.jpeg"/></Relationships>
</file>

<file path=ppt/slides/_rels/slide3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png"/><Relationship Id="rId7" Type="http://schemas.openxmlformats.org/officeDocument/2006/relationships/image" Target="../media/image147.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51.png"/><Relationship Id="rId1" Type="http://schemas.openxmlformats.org/officeDocument/2006/relationships/slideLayout" Target="../slideLayouts/slideLayout6.xml"/><Relationship Id="rId4" Type="http://schemas.openxmlformats.org/officeDocument/2006/relationships/image" Target="../media/image152.png"/></Relationships>
</file>

<file path=ppt/slides/_rels/slide43.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160.jpeg"/><Relationship Id="rId5" Type="http://schemas.openxmlformats.org/officeDocument/2006/relationships/image" Target="../media/image159.png"/><Relationship Id="rId4" Type="http://schemas.openxmlformats.org/officeDocument/2006/relationships/image" Target="../media/image158.png"/></Relationships>
</file>

<file path=ppt/slides/_rels/slide48.xml.rels><?xml version="1.0" encoding="UTF-8" standalone="yes"?>
<Relationships xmlns="http://schemas.openxmlformats.org/package/2006/relationships"><Relationship Id="rId8" Type="http://schemas.openxmlformats.org/officeDocument/2006/relationships/image" Target="../media/image168.jpg"/><Relationship Id="rId3" Type="http://schemas.openxmlformats.org/officeDocument/2006/relationships/image" Target="../media/image164.jpeg"/><Relationship Id="rId7" Type="http://schemas.openxmlformats.org/officeDocument/2006/relationships/image" Target="../media/image167.jpeg"/><Relationship Id="rId2" Type="http://schemas.openxmlformats.org/officeDocument/2006/relationships/image" Target="../media/image163.jpeg"/><Relationship Id="rId1" Type="http://schemas.openxmlformats.org/officeDocument/2006/relationships/slideLayout" Target="../slideLayouts/slideLayout6.xml"/><Relationship Id="rId6" Type="http://schemas.openxmlformats.org/officeDocument/2006/relationships/image" Target="../media/image166.jpg"/><Relationship Id="rId5" Type="http://schemas.openxmlformats.org/officeDocument/2006/relationships/image" Target="../media/image165.png"/><Relationship Id="rId4" Type="http://schemas.openxmlformats.org/officeDocument/2006/relationships/image" Target="../media/image15.jpeg"/><Relationship Id="rId9" Type="http://schemas.openxmlformats.org/officeDocument/2006/relationships/image" Target="../media/image169.jpeg"/></Relationships>
</file>

<file path=ppt/slides/_rels/slide49.xml.rels><?xml version="1.0" encoding="UTF-8" standalone="yes"?>
<Relationships xmlns="http://schemas.openxmlformats.org/package/2006/relationships"><Relationship Id="rId3" Type="http://schemas.openxmlformats.org/officeDocument/2006/relationships/image" Target="../media/image166.jp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116.wmf"/><Relationship Id="rId4" Type="http://schemas.openxmlformats.org/officeDocument/2006/relationships/image" Target="../media/image115.jpg"/></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50.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image" Target="../media/image171.jpg"/></Relationships>
</file>

<file path=ppt/slides/_rels/slide51.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image" Target="../media/image15.jpeg"/><Relationship Id="rId1" Type="http://schemas.openxmlformats.org/officeDocument/2006/relationships/slideLayout" Target="../slideLayouts/slideLayout6.xml"/><Relationship Id="rId5" Type="http://schemas.openxmlformats.org/officeDocument/2006/relationships/image" Target="../media/image173.jpg"/><Relationship Id="rId4" Type="http://schemas.openxmlformats.org/officeDocument/2006/relationships/image" Target="../media/image172.jpg"/></Relationships>
</file>

<file path=ppt/slides/_rels/slide52.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hyperlink" Target="http://www.phoenixcontact.com/us-TOOLfox"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30.jpeg"/><Relationship Id="rId5" Type="http://schemas.openxmlformats.org/officeDocument/2006/relationships/image" Target="../media/image29.jpg"/><Relationship Id="rId4" Type="http://schemas.openxmlformats.org/officeDocument/2006/relationships/image" Target="../media/image28.jpeg"/></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5.jpeg"/><Relationship Id="rId1" Type="http://schemas.openxmlformats.org/officeDocument/2006/relationships/slideLayout" Target="../slideLayouts/slideLayout6.xml"/><Relationship Id="rId4" Type="http://schemas.openxmlformats.org/officeDocument/2006/relationships/image" Target="../media/image33.jpeg"/></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5.jpeg"/><Relationship Id="rId1" Type="http://schemas.openxmlformats.org/officeDocument/2006/relationships/slideLayout" Target="../slideLayouts/slideLayout6.xml"/><Relationship Id="rId6" Type="http://schemas.openxmlformats.org/officeDocument/2006/relationships/image" Target="../media/image42.jpg"/><Relationship Id="rId5" Type="http://schemas.openxmlformats.org/officeDocument/2006/relationships/image" Target="../media/image41.jpg"/><Relationship Id="rId4"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365EF028-D3C1-4631-8E7D-FED2BC61D34E}"/>
              </a:ext>
            </a:extLst>
          </p:cNvPr>
          <p:cNvSpPr>
            <a:spLocks noGrp="1"/>
          </p:cNvSpPr>
          <p:nvPr>
            <p:ph type="title"/>
          </p:nvPr>
        </p:nvSpPr>
        <p:spPr/>
        <p:txBody>
          <a:bodyPr/>
          <a:lstStyle/>
          <a:p>
            <a:r>
              <a:rPr lang="de-DE" dirty="0"/>
              <a:t>TOOL fox: The right tool for every application</a:t>
            </a:r>
          </a:p>
        </p:txBody>
      </p:sp>
      <p:pic>
        <p:nvPicPr>
          <p:cNvPr id="2" name="Picture 1" descr="A picture containing text, clipart&#10;&#10;Description automatically generated">
            <a:extLst>
              <a:ext uri="{FF2B5EF4-FFF2-40B4-BE49-F238E27FC236}">
                <a16:creationId xmlns:a16="http://schemas.microsoft.com/office/drawing/2014/main" id="{F4A833B0-06A0-E811-57BD-CAA76CFDAC0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62680" y="5823195"/>
            <a:ext cx="2100228" cy="673150"/>
          </a:xfrm>
          <a:prstGeom prst="rect">
            <a:avLst/>
          </a:prstGeom>
        </p:spPr>
      </p:pic>
    </p:spTree>
    <p:extLst>
      <p:ext uri="{BB962C8B-B14F-4D97-AF65-F5344CB8AC3E}">
        <p14:creationId xmlns:p14="http://schemas.microsoft.com/office/powerpoint/2010/main" val="214739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Diagonal VDE Cable Cutt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0</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1">
            <a:extLst>
              <a:ext uri="{FF2B5EF4-FFF2-40B4-BE49-F238E27FC236}">
                <a16:creationId xmlns:a16="http://schemas.microsoft.com/office/drawing/2014/main" id="{DAA027E4-4C3E-7D03-6111-DEC2559EFC4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090" t="8616" r="-12290" b="1202"/>
          <a:stretch/>
        </p:blipFill>
        <p:spPr bwMode="auto">
          <a:xfrm>
            <a:off x="699648" y="2205185"/>
            <a:ext cx="2577450" cy="194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Placeholder 12">
            <a:extLst>
              <a:ext uri="{FF2B5EF4-FFF2-40B4-BE49-F238E27FC236}">
                <a16:creationId xmlns:a16="http://schemas.microsoft.com/office/drawing/2014/main" id="{04226239-D5C5-B955-CFED-C71BB1159F3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40" t="12750" r="-8627" b="2023"/>
          <a:stretch/>
        </p:blipFill>
        <p:spPr>
          <a:xfrm>
            <a:off x="4145249" y="1937626"/>
            <a:ext cx="3013796" cy="2274355"/>
          </a:xfrm>
          <a:prstGeom prst="rect">
            <a:avLst/>
          </a:prstGeom>
        </p:spPr>
      </p:pic>
      <p:pic>
        <p:nvPicPr>
          <p:cNvPr id="10" name="Picture 2">
            <a:extLst>
              <a:ext uri="{FF2B5EF4-FFF2-40B4-BE49-F238E27FC236}">
                <a16:creationId xmlns:a16="http://schemas.microsoft.com/office/drawing/2014/main" id="{622590F6-4A9B-2C6F-07EE-EC660915E66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652" t="13083" r="-7955" b="-27"/>
          <a:stretch/>
        </p:blipFill>
        <p:spPr bwMode="auto">
          <a:xfrm>
            <a:off x="7884539" y="1758242"/>
            <a:ext cx="3643845" cy="2766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3">
            <a:extLst>
              <a:ext uri="{FF2B5EF4-FFF2-40B4-BE49-F238E27FC236}">
                <a16:creationId xmlns:a16="http://schemas.microsoft.com/office/drawing/2014/main" id="{BE1021D2-ACB6-A2C5-E5AD-096A39F4E9C4}"/>
              </a:ext>
            </a:extLst>
          </p:cNvPr>
          <p:cNvSpPr txBox="1">
            <a:spLocks/>
          </p:cNvSpPr>
          <p:nvPr/>
        </p:nvSpPr>
        <p:spPr>
          <a:xfrm>
            <a:off x="817020" y="4423621"/>
            <a:ext cx="233575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S VDE</a:t>
            </a:r>
          </a:p>
          <a:p>
            <a:pPr marL="0" indent="0" algn="ctr">
              <a:buNone/>
            </a:pPr>
            <a:r>
              <a:rPr lang="en-US" dirty="0"/>
              <a:t>1212207</a:t>
            </a:r>
          </a:p>
          <a:p>
            <a:pPr marL="0" indent="0" algn="ctr">
              <a:buNone/>
            </a:pPr>
            <a:r>
              <a:rPr lang="en-US" sz="1400" dirty="0"/>
              <a:t>VDE 1000 V AC/1500 V DC tested</a:t>
            </a:r>
          </a:p>
          <a:p>
            <a:pPr marL="0" indent="0" algn="ctr">
              <a:buNone/>
            </a:pPr>
            <a:endParaRPr lang="en-US" dirty="0"/>
          </a:p>
        </p:txBody>
      </p:sp>
      <p:sp>
        <p:nvSpPr>
          <p:cNvPr id="12" name="Text Placeholder 5">
            <a:extLst>
              <a:ext uri="{FF2B5EF4-FFF2-40B4-BE49-F238E27FC236}">
                <a16:creationId xmlns:a16="http://schemas.microsoft.com/office/drawing/2014/main" id="{10C8A85E-A4E2-1E59-6551-2D62B7F702D1}"/>
              </a:ext>
            </a:extLst>
          </p:cNvPr>
          <p:cNvSpPr txBox="1">
            <a:spLocks/>
          </p:cNvSpPr>
          <p:nvPr/>
        </p:nvSpPr>
        <p:spPr>
          <a:xfrm>
            <a:off x="3829050" y="4423621"/>
            <a:ext cx="364384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SP BOLT VDE</a:t>
            </a:r>
          </a:p>
          <a:p>
            <a:pPr marL="0" indent="0" algn="ctr">
              <a:buNone/>
            </a:pPr>
            <a:r>
              <a:rPr lang="en-US" dirty="0"/>
              <a:t>1212831</a:t>
            </a:r>
          </a:p>
          <a:p>
            <a:pPr marL="0" indent="0" algn="ctr">
              <a:buNone/>
            </a:pPr>
            <a:r>
              <a:rPr lang="en-US" sz="1400" dirty="0"/>
              <a:t>Diagonal cutter, 200 mm, induction-hardened cutting</a:t>
            </a:r>
          </a:p>
        </p:txBody>
      </p:sp>
      <p:sp>
        <p:nvSpPr>
          <p:cNvPr id="13" name="Text Placeholder 7">
            <a:extLst>
              <a:ext uri="{FF2B5EF4-FFF2-40B4-BE49-F238E27FC236}">
                <a16:creationId xmlns:a16="http://schemas.microsoft.com/office/drawing/2014/main" id="{FCF751A2-EB9A-8BC5-9754-858CBBA5D13E}"/>
              </a:ext>
            </a:extLst>
          </p:cNvPr>
          <p:cNvSpPr txBox="1">
            <a:spLocks/>
          </p:cNvSpPr>
          <p:nvPr/>
        </p:nvSpPr>
        <p:spPr>
          <a:xfrm>
            <a:off x="8606945" y="4423621"/>
            <a:ext cx="234270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SP VDE</a:t>
            </a:r>
          </a:p>
          <a:p>
            <a:pPr marL="0" indent="0" algn="ctr">
              <a:buNone/>
            </a:pPr>
            <a:r>
              <a:rPr lang="en-US" dirty="0"/>
              <a:t>1212206</a:t>
            </a:r>
          </a:p>
          <a:p>
            <a:pPr marL="0" indent="0" algn="ctr">
              <a:buNone/>
            </a:pPr>
            <a:r>
              <a:rPr lang="en-US" sz="1400" dirty="0"/>
              <a:t>Power diagonal cutter, with optimized leverage</a:t>
            </a:r>
          </a:p>
          <a:p>
            <a:pPr marL="0" indent="0" algn="ctr">
              <a:buNone/>
            </a:pPr>
            <a:endParaRPr lang="en-US" dirty="0"/>
          </a:p>
        </p:txBody>
      </p:sp>
      <p:sp>
        <p:nvSpPr>
          <p:cNvPr id="4" name="Footer Placeholder 3">
            <a:extLst>
              <a:ext uri="{FF2B5EF4-FFF2-40B4-BE49-F238E27FC236}">
                <a16:creationId xmlns:a16="http://schemas.microsoft.com/office/drawing/2014/main" id="{D1E6AEF7-07AD-D1CB-B9D9-B74E71E14B3B}"/>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37642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Special Purpose Cutt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1</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3">
            <a:extLst>
              <a:ext uri="{FF2B5EF4-FFF2-40B4-BE49-F238E27FC236}">
                <a16:creationId xmlns:a16="http://schemas.microsoft.com/office/drawing/2014/main" id="{F0C80097-9EA5-D053-92BB-B4EABDB3EB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590" t="8853" r="-11713" b="2259"/>
          <a:stretch/>
        </p:blipFill>
        <p:spPr bwMode="auto">
          <a:xfrm>
            <a:off x="719012" y="1437914"/>
            <a:ext cx="3788490" cy="2858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FA3B289C-B14D-9A4F-6F45-01E7F1E457C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169" t="9041" r="-10654" b="976"/>
          <a:stretch/>
        </p:blipFill>
        <p:spPr bwMode="auto">
          <a:xfrm>
            <a:off x="4543642" y="2158261"/>
            <a:ext cx="2833942" cy="213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6AC432B7-D183-ED45-4413-B751A6257B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20979" y="1521840"/>
            <a:ext cx="2775050" cy="2775050"/>
          </a:xfrm>
          <a:prstGeom prst="rect">
            <a:avLst/>
          </a:prstGeom>
        </p:spPr>
      </p:pic>
      <p:sp>
        <p:nvSpPr>
          <p:cNvPr id="11" name="Text Placeholder 5">
            <a:extLst>
              <a:ext uri="{FF2B5EF4-FFF2-40B4-BE49-F238E27FC236}">
                <a16:creationId xmlns:a16="http://schemas.microsoft.com/office/drawing/2014/main" id="{4932D4C7-3A2C-7E5C-C588-65A1735C0262}"/>
              </a:ext>
            </a:extLst>
          </p:cNvPr>
          <p:cNvSpPr txBox="1">
            <a:spLocks/>
          </p:cNvSpPr>
          <p:nvPr/>
        </p:nvSpPr>
        <p:spPr>
          <a:xfrm>
            <a:off x="864115" y="4481145"/>
            <a:ext cx="2703229"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FBS</a:t>
            </a:r>
          </a:p>
          <a:p>
            <a:pPr marL="0" indent="0" algn="ctr">
              <a:buNone/>
            </a:pPr>
            <a:r>
              <a:rPr lang="en-US" dirty="0"/>
              <a:t>1212124</a:t>
            </a:r>
          </a:p>
          <a:p>
            <a:pPr marL="0" indent="0" algn="ctr">
              <a:buNone/>
            </a:pPr>
            <a:r>
              <a:rPr lang="en-US" sz="1400" dirty="0"/>
              <a:t>For separating individual jumper bars from fixed bridges</a:t>
            </a:r>
          </a:p>
        </p:txBody>
      </p:sp>
      <p:sp>
        <p:nvSpPr>
          <p:cNvPr id="12" name="Text Placeholder 7">
            <a:extLst>
              <a:ext uri="{FF2B5EF4-FFF2-40B4-BE49-F238E27FC236}">
                <a16:creationId xmlns:a16="http://schemas.microsoft.com/office/drawing/2014/main" id="{3E0C52DC-79E9-918D-26B3-993949ED521E}"/>
              </a:ext>
            </a:extLst>
          </p:cNvPr>
          <p:cNvSpPr txBox="1">
            <a:spLocks/>
          </p:cNvSpPr>
          <p:nvPr/>
        </p:nvSpPr>
        <p:spPr>
          <a:xfrm>
            <a:off x="5008178" y="4479929"/>
            <a:ext cx="236940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FB</a:t>
            </a:r>
          </a:p>
          <a:p>
            <a:pPr marL="0" indent="0" algn="ctr">
              <a:buNone/>
            </a:pPr>
            <a:r>
              <a:rPr lang="en-US" dirty="0"/>
              <a:t>1205985</a:t>
            </a:r>
          </a:p>
          <a:p>
            <a:pPr marL="0" indent="0" algn="ctr">
              <a:buNone/>
            </a:pPr>
            <a:r>
              <a:rPr lang="en-US" sz="1400" dirty="0"/>
              <a:t>One-hand bridge cutter for fixed bridges</a:t>
            </a:r>
          </a:p>
        </p:txBody>
      </p:sp>
      <p:sp>
        <p:nvSpPr>
          <p:cNvPr id="13" name="Text Placeholder 7">
            <a:extLst>
              <a:ext uri="{FF2B5EF4-FFF2-40B4-BE49-F238E27FC236}">
                <a16:creationId xmlns:a16="http://schemas.microsoft.com/office/drawing/2014/main" id="{CF86EE16-5BAA-4935-4AA5-B8C9A4AADDA7}"/>
              </a:ext>
            </a:extLst>
          </p:cNvPr>
          <p:cNvSpPr txBox="1">
            <a:spLocks/>
          </p:cNvSpPr>
          <p:nvPr/>
        </p:nvSpPr>
        <p:spPr>
          <a:xfrm>
            <a:off x="8353883" y="4483796"/>
            <a:ext cx="254214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CD</a:t>
            </a:r>
          </a:p>
          <a:p>
            <a:pPr marL="0" indent="0" algn="ctr">
              <a:buNone/>
            </a:pPr>
            <a:r>
              <a:rPr lang="en-US" dirty="0"/>
              <a:t>1212474</a:t>
            </a:r>
          </a:p>
          <a:p>
            <a:pPr marL="0" indent="0" algn="ctr">
              <a:buNone/>
            </a:pPr>
            <a:r>
              <a:rPr lang="en-US" sz="1400" dirty="0"/>
              <a:t>Wire duct cutters up to 75mm Right angled and bevel cuts</a:t>
            </a:r>
          </a:p>
        </p:txBody>
      </p:sp>
      <p:sp>
        <p:nvSpPr>
          <p:cNvPr id="4" name="Footer Placeholder 3">
            <a:extLst>
              <a:ext uri="{FF2B5EF4-FFF2-40B4-BE49-F238E27FC236}">
                <a16:creationId xmlns:a16="http://schemas.microsoft.com/office/drawing/2014/main" id="{D9F041E1-1D7E-7B7C-FC2E-EAC7BC0F2FC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3560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Bench Top Wire Duct and DIN Rail Cutt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49CB5E2C-5E79-E652-509D-AC46E7BE01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152" y="1512355"/>
            <a:ext cx="3339296" cy="3339296"/>
          </a:xfrm>
          <a:prstGeom prst="rect">
            <a:avLst/>
          </a:prstGeom>
        </p:spPr>
      </p:pic>
      <p:pic>
        <p:nvPicPr>
          <p:cNvPr id="9" name="Picture 2" descr="00012021_PRODUCT_FEATURE_STANDARD_BLUE_GRADIENT_WEB">
            <a:extLst>
              <a:ext uri="{FF2B5EF4-FFF2-40B4-BE49-F238E27FC236}">
                <a16:creationId xmlns:a16="http://schemas.microsoft.com/office/drawing/2014/main" id="{F1B56C18-4CD5-323E-D375-6D763E73AE9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04680" y="1512353"/>
            <a:ext cx="3339297" cy="3339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50252732-A631-C939-764D-26A9DE4EFC1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00515" y="1492100"/>
            <a:ext cx="3339295" cy="3339295"/>
          </a:xfrm>
          <a:prstGeom prst="rect">
            <a:avLst/>
          </a:prstGeom>
        </p:spPr>
      </p:pic>
      <p:sp>
        <p:nvSpPr>
          <p:cNvPr id="11" name="Text Placeholder 5">
            <a:extLst>
              <a:ext uri="{FF2B5EF4-FFF2-40B4-BE49-F238E27FC236}">
                <a16:creationId xmlns:a16="http://schemas.microsoft.com/office/drawing/2014/main" id="{33C359CD-ED79-5183-7E68-B87B3B6B6DCD}"/>
              </a:ext>
            </a:extLst>
          </p:cNvPr>
          <p:cNvSpPr txBox="1">
            <a:spLocks/>
          </p:cNvSpPr>
          <p:nvPr/>
        </p:nvSpPr>
        <p:spPr>
          <a:xfrm>
            <a:off x="791901" y="4944132"/>
            <a:ext cx="2854957"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PPS CD M 1207569</a:t>
            </a:r>
          </a:p>
          <a:p>
            <a:pPr marL="0" indent="0" algn="ctr">
              <a:buNone/>
            </a:pPr>
            <a:r>
              <a:rPr lang="en-US" sz="1400" dirty="0"/>
              <a:t>Wire Duct Cutter for up to 125 mm wide and 2.5 mm thick</a:t>
            </a:r>
          </a:p>
        </p:txBody>
      </p:sp>
      <p:sp>
        <p:nvSpPr>
          <p:cNvPr id="12" name="Text Placeholder 7">
            <a:extLst>
              <a:ext uri="{FF2B5EF4-FFF2-40B4-BE49-F238E27FC236}">
                <a16:creationId xmlns:a16="http://schemas.microsoft.com/office/drawing/2014/main" id="{F7C5BAF0-1D95-B5CF-4A2E-E9F4A685F0B1}"/>
              </a:ext>
            </a:extLst>
          </p:cNvPr>
          <p:cNvSpPr txBox="1">
            <a:spLocks/>
          </p:cNvSpPr>
          <p:nvPr/>
        </p:nvSpPr>
        <p:spPr>
          <a:xfrm>
            <a:off x="3943350" y="4944132"/>
            <a:ext cx="3904282"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PPS COMPACT 1104980</a:t>
            </a:r>
          </a:p>
          <a:p>
            <a:pPr marL="0" indent="0" algn="ctr">
              <a:buNone/>
            </a:pPr>
            <a:r>
              <a:rPr lang="en-US" sz="1400" dirty="0"/>
              <a:t>Portable DIN rail cutter for standard NS 35/7,5 and NS 35/15 </a:t>
            </a:r>
            <a:r>
              <a:rPr lang="en-US" sz="1400" i="1" dirty="0"/>
              <a:t>(clamp and scale sold separate)</a:t>
            </a:r>
          </a:p>
        </p:txBody>
      </p:sp>
      <p:sp>
        <p:nvSpPr>
          <p:cNvPr id="13" name="Text Placeholder 7">
            <a:extLst>
              <a:ext uri="{FF2B5EF4-FFF2-40B4-BE49-F238E27FC236}">
                <a16:creationId xmlns:a16="http://schemas.microsoft.com/office/drawing/2014/main" id="{6ECFC3C7-B7D3-8938-27F9-501A561DB69F}"/>
              </a:ext>
            </a:extLst>
          </p:cNvPr>
          <p:cNvSpPr txBox="1">
            <a:spLocks/>
          </p:cNvSpPr>
          <p:nvPr/>
        </p:nvSpPr>
        <p:spPr>
          <a:xfrm>
            <a:off x="8029375" y="4851650"/>
            <a:ext cx="375019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PPS BASIC I/M 1207585</a:t>
            </a:r>
          </a:p>
          <a:p>
            <a:pPr marL="0" indent="0" algn="ctr">
              <a:buNone/>
            </a:pPr>
            <a:r>
              <a:rPr lang="en-US" sz="1400" dirty="0"/>
              <a:t>Benchtop mounted DIN rail cutter for standard NS 15, 35/7,5, NS 35/15 and CLS-CU 3/10 Busbars</a:t>
            </a:r>
          </a:p>
        </p:txBody>
      </p:sp>
      <p:sp>
        <p:nvSpPr>
          <p:cNvPr id="4" name="Footer Placeholder 3">
            <a:extLst>
              <a:ext uri="{FF2B5EF4-FFF2-40B4-BE49-F238E27FC236}">
                <a16:creationId xmlns:a16="http://schemas.microsoft.com/office/drawing/2014/main" id="{705B5451-8379-8AF4-9CA9-CDCF563F3962}"/>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78890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UNIFOX Contact Removal and Assembly and Rivet Sett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3</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D26C77CF-3F28-59AF-99AD-6E5B03F945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2496" y="1848022"/>
            <a:ext cx="3309192" cy="3309192"/>
          </a:xfrm>
          <a:prstGeom prst="rect">
            <a:avLst/>
          </a:prstGeom>
        </p:spPr>
      </p:pic>
      <p:sp>
        <p:nvSpPr>
          <p:cNvPr id="9" name="Text Placeholder 3">
            <a:extLst>
              <a:ext uri="{FF2B5EF4-FFF2-40B4-BE49-F238E27FC236}">
                <a16:creationId xmlns:a16="http://schemas.microsoft.com/office/drawing/2014/main" id="{15243D7C-57E9-65EB-6AB6-37130A3AB4D9}"/>
              </a:ext>
            </a:extLst>
          </p:cNvPr>
          <p:cNvSpPr txBox="1">
            <a:spLocks/>
          </p:cNvSpPr>
          <p:nvPr/>
        </p:nvSpPr>
        <p:spPr>
          <a:xfrm>
            <a:off x="3981687" y="2137635"/>
            <a:ext cx="3926919" cy="214363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RT-CK 1.6  1072069</a:t>
            </a:r>
          </a:p>
          <a:p>
            <a:pPr marL="0" indent="0" algn="ctr">
              <a:buNone/>
            </a:pPr>
            <a:r>
              <a:rPr lang="en-US" dirty="0"/>
              <a:t>UNIFOX RT-CK 2.5  1072067</a:t>
            </a:r>
          </a:p>
          <a:p>
            <a:pPr marL="0" indent="0" algn="ctr">
              <a:buNone/>
            </a:pPr>
            <a:r>
              <a:rPr lang="en-US" dirty="0"/>
              <a:t>UNIFOX RT-CK 4.0 1072064</a:t>
            </a:r>
          </a:p>
          <a:p>
            <a:pPr marL="0" indent="0" algn="ctr">
              <a:buNone/>
            </a:pPr>
            <a:r>
              <a:rPr lang="en-US" dirty="0"/>
              <a:t>UNIFOX MT-CK 1.6/2.5 01089092</a:t>
            </a:r>
          </a:p>
          <a:p>
            <a:pPr marL="0" indent="0" algn="ctr">
              <a:buNone/>
            </a:pPr>
            <a:r>
              <a:rPr lang="en-US" sz="1400" dirty="0"/>
              <a:t>Removal tools for turned contacts and assembly tool for crimp contacts</a:t>
            </a:r>
          </a:p>
          <a:p>
            <a:pPr marL="0" indent="0" algn="ctr">
              <a:buNone/>
            </a:pPr>
            <a:endParaRPr lang="en-US" dirty="0"/>
          </a:p>
        </p:txBody>
      </p:sp>
      <p:pic>
        <p:nvPicPr>
          <p:cNvPr id="10" name="Picture 9">
            <a:extLst>
              <a:ext uri="{FF2B5EF4-FFF2-40B4-BE49-F238E27FC236}">
                <a16:creationId xmlns:a16="http://schemas.microsoft.com/office/drawing/2014/main" id="{BB4326D8-5F19-9A1B-EDD4-44E6015756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3087" y="1626045"/>
            <a:ext cx="2342705" cy="2342705"/>
          </a:xfrm>
          <a:prstGeom prst="rect">
            <a:avLst/>
          </a:prstGeom>
        </p:spPr>
      </p:pic>
      <p:pic>
        <p:nvPicPr>
          <p:cNvPr id="11" name="Picture 10">
            <a:extLst>
              <a:ext uri="{FF2B5EF4-FFF2-40B4-BE49-F238E27FC236}">
                <a16:creationId xmlns:a16="http://schemas.microsoft.com/office/drawing/2014/main" id="{416946B2-341F-EAFC-FB67-A203C10DD8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32422" y="2765567"/>
            <a:ext cx="1079500" cy="1079500"/>
          </a:xfrm>
          <a:prstGeom prst="rect">
            <a:avLst/>
          </a:prstGeom>
        </p:spPr>
      </p:pic>
      <p:sp>
        <p:nvSpPr>
          <p:cNvPr id="12" name="Text Placeholder 5">
            <a:extLst>
              <a:ext uri="{FF2B5EF4-FFF2-40B4-BE49-F238E27FC236}">
                <a16:creationId xmlns:a16="http://schemas.microsoft.com/office/drawing/2014/main" id="{532DC66F-F6F0-4711-472B-DE3E247D9CE5}"/>
              </a:ext>
            </a:extLst>
          </p:cNvPr>
          <p:cNvSpPr txBox="1">
            <a:spLocks/>
          </p:cNvSpPr>
          <p:nvPr/>
        </p:nvSpPr>
        <p:spPr>
          <a:xfrm>
            <a:off x="7857583" y="4178885"/>
            <a:ext cx="375451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RVT PA 4  1212478</a:t>
            </a:r>
          </a:p>
          <a:p>
            <a:pPr marL="0" indent="0" algn="ctr">
              <a:buNone/>
            </a:pPr>
            <a:r>
              <a:rPr lang="en-US" dirty="0" err="1"/>
              <a:t>Unifox</a:t>
            </a:r>
            <a:r>
              <a:rPr lang="en-US" dirty="0"/>
              <a:t>-RVT PA 6 1212509</a:t>
            </a:r>
          </a:p>
          <a:p>
            <a:pPr marL="0" indent="0" algn="ctr">
              <a:buNone/>
            </a:pPr>
            <a:r>
              <a:rPr lang="en-US" sz="1400" dirty="0"/>
              <a:t>For processing plastic shield rivets</a:t>
            </a:r>
          </a:p>
        </p:txBody>
      </p:sp>
      <p:sp>
        <p:nvSpPr>
          <p:cNvPr id="4" name="Footer Placeholder 3">
            <a:extLst>
              <a:ext uri="{FF2B5EF4-FFF2-40B4-BE49-F238E27FC236}">
                <a16:creationId xmlns:a16="http://schemas.microsoft.com/office/drawing/2014/main" id="{53113CCC-0F6C-9C4B-2104-44173CCFF4C5}"/>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89244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UNIFOX Wire Tie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4</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CE6CE15D-D750-E260-18CB-80C70F92BE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0078" y="1764869"/>
            <a:ext cx="2304288" cy="2414016"/>
          </a:xfrm>
          <a:prstGeom prst="rect">
            <a:avLst/>
          </a:prstGeom>
        </p:spPr>
      </p:pic>
      <p:pic>
        <p:nvPicPr>
          <p:cNvPr id="9" name="Picture 8">
            <a:extLst>
              <a:ext uri="{FF2B5EF4-FFF2-40B4-BE49-F238E27FC236}">
                <a16:creationId xmlns:a16="http://schemas.microsoft.com/office/drawing/2014/main" id="{9532EE4B-5F0D-ABC3-A903-3428F19F12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2549" y="1503674"/>
            <a:ext cx="2700038" cy="2828611"/>
          </a:xfrm>
          <a:prstGeom prst="rect">
            <a:avLst/>
          </a:prstGeom>
        </p:spPr>
      </p:pic>
      <p:pic>
        <p:nvPicPr>
          <p:cNvPr id="10" name="Picture 9">
            <a:extLst>
              <a:ext uri="{FF2B5EF4-FFF2-40B4-BE49-F238E27FC236}">
                <a16:creationId xmlns:a16="http://schemas.microsoft.com/office/drawing/2014/main" id="{5AA08BDD-44EE-B6EB-546F-040D8E86DBB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5409" y="1503674"/>
            <a:ext cx="2700038" cy="2828611"/>
          </a:xfrm>
          <a:prstGeom prst="rect">
            <a:avLst/>
          </a:prstGeom>
        </p:spPr>
      </p:pic>
      <p:sp>
        <p:nvSpPr>
          <p:cNvPr id="11" name="Text Placeholder 5">
            <a:extLst>
              <a:ext uri="{FF2B5EF4-FFF2-40B4-BE49-F238E27FC236}">
                <a16:creationId xmlns:a16="http://schemas.microsoft.com/office/drawing/2014/main" id="{8DC878AE-6D86-8E03-6C90-213B6CFDE151}"/>
              </a:ext>
            </a:extLst>
          </p:cNvPr>
          <p:cNvSpPr txBox="1">
            <a:spLocks/>
          </p:cNvSpPr>
          <p:nvPr/>
        </p:nvSpPr>
        <p:spPr>
          <a:xfrm>
            <a:off x="299314" y="4547473"/>
            <a:ext cx="375451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CT 4,8</a:t>
            </a:r>
          </a:p>
          <a:p>
            <a:pPr marL="0" indent="0" algn="ctr">
              <a:buNone/>
            </a:pPr>
            <a:r>
              <a:rPr lang="en-US" dirty="0"/>
              <a:t>1212475</a:t>
            </a:r>
          </a:p>
          <a:p>
            <a:pPr marL="0" indent="0" algn="ctr">
              <a:buNone/>
            </a:pPr>
            <a:r>
              <a:rPr lang="en-US" sz="1400" dirty="0"/>
              <a:t>For plastic wire ties up to 4.8 mm wide</a:t>
            </a:r>
          </a:p>
        </p:txBody>
      </p:sp>
      <p:sp>
        <p:nvSpPr>
          <p:cNvPr id="12" name="Text Placeholder 5">
            <a:extLst>
              <a:ext uri="{FF2B5EF4-FFF2-40B4-BE49-F238E27FC236}">
                <a16:creationId xmlns:a16="http://schemas.microsoft.com/office/drawing/2014/main" id="{A4C36B4D-765E-2020-0ED1-84A5CA40FEEF}"/>
              </a:ext>
            </a:extLst>
          </p:cNvPr>
          <p:cNvSpPr txBox="1">
            <a:spLocks/>
          </p:cNvSpPr>
          <p:nvPr/>
        </p:nvSpPr>
        <p:spPr>
          <a:xfrm>
            <a:off x="4117438" y="4571174"/>
            <a:ext cx="375451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CT 4,8P</a:t>
            </a:r>
          </a:p>
          <a:p>
            <a:pPr marL="0" indent="0" algn="ctr">
              <a:buNone/>
            </a:pPr>
            <a:r>
              <a:rPr lang="en-US" dirty="0"/>
              <a:t>1212609</a:t>
            </a:r>
          </a:p>
          <a:p>
            <a:pPr marL="0" indent="0" algn="ctr">
              <a:buNone/>
            </a:pPr>
            <a:r>
              <a:rPr lang="en-US" sz="1400" dirty="0"/>
              <a:t>For plastic wire ties up to 4.8 mm wide</a:t>
            </a:r>
          </a:p>
        </p:txBody>
      </p:sp>
      <p:sp>
        <p:nvSpPr>
          <p:cNvPr id="13" name="Text Placeholder 5">
            <a:extLst>
              <a:ext uri="{FF2B5EF4-FFF2-40B4-BE49-F238E27FC236}">
                <a16:creationId xmlns:a16="http://schemas.microsoft.com/office/drawing/2014/main" id="{988B8577-1014-2748-840C-1719D85453F7}"/>
              </a:ext>
            </a:extLst>
          </p:cNvPr>
          <p:cNvSpPr txBox="1">
            <a:spLocks/>
          </p:cNvSpPr>
          <p:nvPr/>
        </p:nvSpPr>
        <p:spPr>
          <a:xfrm>
            <a:off x="8138169" y="4571174"/>
            <a:ext cx="393422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CT M 7,9</a:t>
            </a:r>
          </a:p>
          <a:p>
            <a:pPr marL="0" indent="0" algn="ctr">
              <a:buNone/>
            </a:pPr>
            <a:r>
              <a:rPr lang="en-US" dirty="0"/>
              <a:t>1212610</a:t>
            </a:r>
          </a:p>
          <a:p>
            <a:pPr marL="0" indent="0" algn="ctr">
              <a:buNone/>
            </a:pPr>
            <a:r>
              <a:rPr lang="en-US" sz="1400" dirty="0"/>
              <a:t>For stainless steel wire ties up to 7.9 mm wide</a:t>
            </a:r>
          </a:p>
        </p:txBody>
      </p:sp>
      <p:sp>
        <p:nvSpPr>
          <p:cNvPr id="4" name="Footer Placeholder 3">
            <a:extLst>
              <a:ext uri="{FF2B5EF4-FFF2-40B4-BE49-F238E27FC236}">
                <a16:creationId xmlns:a16="http://schemas.microsoft.com/office/drawing/2014/main" id="{6B973C9D-A8B7-57C6-7935-82600F751452}"/>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43196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UNIFOX VDE Combination Pliers and Pipe Wrenches </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5</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6" name="Text Placeholder 3">
            <a:extLst>
              <a:ext uri="{FF2B5EF4-FFF2-40B4-BE49-F238E27FC236}">
                <a16:creationId xmlns:a16="http://schemas.microsoft.com/office/drawing/2014/main" id="{1C746861-5B67-87A8-7FBB-1643E0C694D3}"/>
              </a:ext>
            </a:extLst>
          </p:cNvPr>
          <p:cNvSpPr txBox="1">
            <a:spLocks/>
          </p:cNvSpPr>
          <p:nvPr/>
        </p:nvSpPr>
        <p:spPr>
          <a:xfrm>
            <a:off x="441748" y="4316456"/>
            <a:ext cx="2249989"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C VDE</a:t>
            </a:r>
          </a:p>
          <a:p>
            <a:pPr marL="0" indent="0" algn="ctr">
              <a:buNone/>
            </a:pPr>
            <a:r>
              <a:rPr lang="en-US" dirty="0"/>
              <a:t>1212202</a:t>
            </a:r>
          </a:p>
          <a:p>
            <a:pPr marL="0" indent="0" algn="ctr">
              <a:buNone/>
            </a:pPr>
            <a:r>
              <a:rPr lang="en-US" sz="1400" dirty="0"/>
              <a:t>Combination pliers, cross-notched grip area</a:t>
            </a:r>
          </a:p>
        </p:txBody>
      </p:sp>
      <p:pic>
        <p:nvPicPr>
          <p:cNvPr id="9" name="Picture 3">
            <a:extLst>
              <a:ext uri="{FF2B5EF4-FFF2-40B4-BE49-F238E27FC236}">
                <a16:creationId xmlns:a16="http://schemas.microsoft.com/office/drawing/2014/main" id="{FAEB9033-2B1B-C32B-6CDF-D514E8C39E3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030" t="12638" r="-12419" b="534"/>
          <a:stretch/>
        </p:blipFill>
        <p:spPr bwMode="auto">
          <a:xfrm>
            <a:off x="683549" y="2451399"/>
            <a:ext cx="2236607" cy="168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a:extLst>
              <a:ext uri="{FF2B5EF4-FFF2-40B4-BE49-F238E27FC236}">
                <a16:creationId xmlns:a16="http://schemas.microsoft.com/office/drawing/2014/main" id="{EF2D29D9-7922-2ECA-8700-2D139EE18288}"/>
              </a:ext>
            </a:extLst>
          </p:cNvPr>
          <p:cNvSpPr txBox="1">
            <a:spLocks/>
          </p:cNvSpPr>
          <p:nvPr/>
        </p:nvSpPr>
        <p:spPr>
          <a:xfrm>
            <a:off x="3164441" y="4306930"/>
            <a:ext cx="2762580" cy="154142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CE VDE</a:t>
            </a:r>
          </a:p>
          <a:p>
            <a:pPr marL="0" indent="0" algn="ctr">
              <a:buNone/>
            </a:pPr>
            <a:r>
              <a:rPr lang="en-US" dirty="0"/>
              <a:t>1212203</a:t>
            </a:r>
          </a:p>
          <a:p>
            <a:pPr marL="0" indent="0" algn="ctr">
              <a:buNone/>
            </a:pPr>
            <a:r>
              <a:rPr lang="en-US" sz="1400" dirty="0"/>
              <a:t>Cross-notched grip area, integrated M8 - M10 ring wrench</a:t>
            </a:r>
          </a:p>
        </p:txBody>
      </p:sp>
      <p:pic>
        <p:nvPicPr>
          <p:cNvPr id="13" name="Picture 4">
            <a:extLst>
              <a:ext uri="{FF2B5EF4-FFF2-40B4-BE49-F238E27FC236}">
                <a16:creationId xmlns:a16="http://schemas.microsoft.com/office/drawing/2014/main" id="{6687DC7A-93E1-A176-2751-A9122D5D2BA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528" t="12514" r="-10504" b="3841"/>
          <a:stretch/>
        </p:blipFill>
        <p:spPr bwMode="auto">
          <a:xfrm>
            <a:off x="3244590" y="2466975"/>
            <a:ext cx="2236607" cy="168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64D74D47-9D1B-7199-078C-30FC8D54260D}"/>
              </a:ext>
            </a:extLst>
          </p:cNvPr>
          <p:cNvSpPr txBox="1"/>
          <p:nvPr/>
        </p:nvSpPr>
        <p:spPr>
          <a:xfrm>
            <a:off x="6309936" y="5073590"/>
            <a:ext cx="2721680" cy="789727"/>
          </a:xfrm>
          <a:prstGeom prst="rect">
            <a:avLst/>
          </a:prstGeom>
          <a:noFill/>
          <a:ln>
            <a:noFill/>
          </a:ln>
        </p:spPr>
        <p:txBody>
          <a:bodyPr wrap="square" lIns="0" tIns="0" rIns="0" bIns="0" rtlCol="0">
            <a:noAutofit/>
          </a:bodyPr>
          <a:lstStyle/>
          <a:p>
            <a:pPr algn="ctr"/>
            <a:r>
              <a:rPr lang="en-US" sz="1400" dirty="0"/>
              <a:t>Water pump pliers, with groove joint, grip areas with dual notching</a:t>
            </a:r>
          </a:p>
        </p:txBody>
      </p:sp>
      <p:sp>
        <p:nvSpPr>
          <p:cNvPr id="15" name="Text Placeholder 7">
            <a:extLst>
              <a:ext uri="{FF2B5EF4-FFF2-40B4-BE49-F238E27FC236}">
                <a16:creationId xmlns:a16="http://schemas.microsoft.com/office/drawing/2014/main" id="{CCF5796E-9DDC-6180-4519-4573EE5BE6CA}"/>
              </a:ext>
            </a:extLst>
          </p:cNvPr>
          <p:cNvSpPr txBox="1">
            <a:spLocks/>
          </p:cNvSpPr>
          <p:nvPr/>
        </p:nvSpPr>
        <p:spPr>
          <a:xfrm>
            <a:off x="6264980" y="4278355"/>
            <a:ext cx="2484606" cy="64784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WP</a:t>
            </a:r>
          </a:p>
          <a:p>
            <a:pPr marL="0" indent="0" algn="ctr">
              <a:buNone/>
            </a:pPr>
            <a:r>
              <a:rPr lang="en-US" dirty="0"/>
              <a:t>1212365</a:t>
            </a:r>
            <a:br>
              <a:rPr lang="en-US" dirty="0"/>
            </a:br>
            <a:endParaRPr lang="en-US" sz="1400" dirty="0"/>
          </a:p>
        </p:txBody>
      </p:sp>
      <p:pic>
        <p:nvPicPr>
          <p:cNvPr id="16" name="Picture 6">
            <a:extLst>
              <a:ext uri="{FF2B5EF4-FFF2-40B4-BE49-F238E27FC236}">
                <a16:creationId xmlns:a16="http://schemas.microsoft.com/office/drawing/2014/main" id="{1CD50C6E-1E57-3A58-FE80-660AE71A1B6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909" t="12776" r="-9869" b="2317"/>
          <a:stretch/>
        </p:blipFill>
        <p:spPr bwMode="auto">
          <a:xfrm>
            <a:off x="5892987" y="1909794"/>
            <a:ext cx="3138629" cy="2368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2790E3E2-7E6E-F884-D2C6-3BB2760055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32767" y="1676400"/>
            <a:ext cx="2397035" cy="2520535"/>
          </a:xfrm>
          <a:prstGeom prst="rect">
            <a:avLst/>
          </a:prstGeom>
        </p:spPr>
      </p:pic>
      <p:sp>
        <p:nvSpPr>
          <p:cNvPr id="18" name="TextBox 17">
            <a:extLst>
              <a:ext uri="{FF2B5EF4-FFF2-40B4-BE49-F238E27FC236}">
                <a16:creationId xmlns:a16="http://schemas.microsoft.com/office/drawing/2014/main" id="{7D2BFC8F-92E1-070F-D1DA-76DEA1DCD7EA}"/>
              </a:ext>
            </a:extLst>
          </p:cNvPr>
          <p:cNvSpPr txBox="1"/>
          <p:nvPr/>
        </p:nvSpPr>
        <p:spPr>
          <a:xfrm>
            <a:off x="9179849" y="5109176"/>
            <a:ext cx="2484605" cy="560561"/>
          </a:xfrm>
          <a:prstGeom prst="rect">
            <a:avLst/>
          </a:prstGeom>
          <a:noFill/>
          <a:ln>
            <a:noFill/>
          </a:ln>
        </p:spPr>
        <p:txBody>
          <a:bodyPr wrap="square" lIns="0" tIns="0" rIns="0" bIns="0" rtlCol="0">
            <a:noAutofit/>
          </a:bodyPr>
          <a:lstStyle/>
          <a:p>
            <a:pPr algn="ctr"/>
            <a:r>
              <a:rPr lang="en-US" sz="1400" dirty="0"/>
              <a:t>Slip-joint wrench with fast adjustment</a:t>
            </a:r>
          </a:p>
        </p:txBody>
      </p:sp>
      <p:sp>
        <p:nvSpPr>
          <p:cNvPr id="19" name="Text Placeholder 7">
            <a:extLst>
              <a:ext uri="{FF2B5EF4-FFF2-40B4-BE49-F238E27FC236}">
                <a16:creationId xmlns:a16="http://schemas.microsoft.com/office/drawing/2014/main" id="{66FF8DAD-634D-6592-B3ED-3A329C9D9A79}"/>
              </a:ext>
            </a:extLst>
          </p:cNvPr>
          <p:cNvSpPr txBox="1">
            <a:spLocks/>
          </p:cNvSpPr>
          <p:nvPr/>
        </p:nvSpPr>
        <p:spPr>
          <a:xfrm>
            <a:off x="9132767" y="4278354"/>
            <a:ext cx="2531687" cy="78972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Wrench</a:t>
            </a:r>
          </a:p>
          <a:p>
            <a:pPr marL="0" indent="0" algn="ctr">
              <a:buNone/>
            </a:pPr>
            <a:r>
              <a:rPr lang="en-US" dirty="0"/>
              <a:t>1212835</a:t>
            </a:r>
            <a:br>
              <a:rPr lang="en-US" dirty="0"/>
            </a:br>
            <a:endParaRPr lang="en-US" sz="1400" dirty="0"/>
          </a:p>
        </p:txBody>
      </p:sp>
      <p:sp>
        <p:nvSpPr>
          <p:cNvPr id="4" name="Footer Placeholder 3">
            <a:extLst>
              <a:ext uri="{FF2B5EF4-FFF2-40B4-BE49-F238E27FC236}">
                <a16:creationId xmlns:a16="http://schemas.microsoft.com/office/drawing/2014/main" id="{438BB6D4-C198-B6FE-D4C5-503C5F7DCEE4}"/>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22217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UNIFOX VDE &amp; Round Nose and Flat Pli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6</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98D4029A-DD95-D82C-E4CB-2AC425CDA0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292" y="1559980"/>
            <a:ext cx="2107472" cy="2207828"/>
          </a:xfrm>
          <a:prstGeom prst="rect">
            <a:avLst/>
          </a:prstGeom>
        </p:spPr>
      </p:pic>
      <p:pic>
        <p:nvPicPr>
          <p:cNvPr id="9" name="Picture 2">
            <a:extLst>
              <a:ext uri="{FF2B5EF4-FFF2-40B4-BE49-F238E27FC236}">
                <a16:creationId xmlns:a16="http://schemas.microsoft.com/office/drawing/2014/main" id="{56DC708D-BB4E-F3A9-3C39-9E81B97AEDF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1337" t="13007" r="-9272" b="47"/>
          <a:stretch/>
        </p:blipFill>
        <p:spPr bwMode="auto">
          <a:xfrm>
            <a:off x="2895218" y="1773476"/>
            <a:ext cx="2680185" cy="2022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168DFBFC-1E64-1596-6532-BCC88117E96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867" t="12358" r="-8912" b="2738"/>
          <a:stretch/>
        </p:blipFill>
        <p:spPr bwMode="auto">
          <a:xfrm>
            <a:off x="4733183" y="1505348"/>
            <a:ext cx="2885734" cy="2177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7">
            <a:extLst>
              <a:ext uri="{FF2B5EF4-FFF2-40B4-BE49-F238E27FC236}">
                <a16:creationId xmlns:a16="http://schemas.microsoft.com/office/drawing/2014/main" id="{54364B5F-3CBF-B032-40EB-F1EFB5BCC90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554" t="9132" r="-16537" b="-29"/>
          <a:stretch/>
        </p:blipFill>
        <p:spPr bwMode="auto">
          <a:xfrm>
            <a:off x="7151063" y="1601613"/>
            <a:ext cx="2925638" cy="2207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a:extLst>
              <a:ext uri="{FF2B5EF4-FFF2-40B4-BE49-F238E27FC236}">
                <a16:creationId xmlns:a16="http://schemas.microsoft.com/office/drawing/2014/main" id="{3B86E4DA-AAD9-9E46-6506-5C8E6BF7E4C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418" t="13083" r="-9460" b="-27"/>
          <a:stretch/>
        </p:blipFill>
        <p:spPr bwMode="auto">
          <a:xfrm>
            <a:off x="9330152" y="1519269"/>
            <a:ext cx="2971647" cy="2242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5">
            <a:extLst>
              <a:ext uri="{FF2B5EF4-FFF2-40B4-BE49-F238E27FC236}">
                <a16:creationId xmlns:a16="http://schemas.microsoft.com/office/drawing/2014/main" id="{CAAF702F-C517-1EA0-ECA0-24C3DF7FDAEF}"/>
              </a:ext>
            </a:extLst>
          </p:cNvPr>
          <p:cNvSpPr txBox="1">
            <a:spLocks/>
          </p:cNvSpPr>
          <p:nvPr/>
        </p:nvSpPr>
        <p:spPr>
          <a:xfrm>
            <a:off x="-16659" y="3799047"/>
            <a:ext cx="3055023" cy="2096928"/>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PE VDE</a:t>
            </a:r>
          </a:p>
          <a:p>
            <a:pPr marL="0" indent="0" algn="ctr">
              <a:buNone/>
            </a:pPr>
            <a:r>
              <a:rPr lang="en-US" dirty="0"/>
              <a:t>1212529</a:t>
            </a:r>
          </a:p>
          <a:p>
            <a:pPr marL="0" indent="0" algn="ctr">
              <a:buNone/>
            </a:pPr>
            <a:r>
              <a:rPr lang="en-US" sz="1400" dirty="0"/>
              <a:t>Needle-nose pliers with blade, angled design, opening spring and locking device.  Wire stripping for 1.5 mm² and 2.5 mm², integrated M8-M10 ring wrench</a:t>
            </a:r>
          </a:p>
        </p:txBody>
      </p:sp>
      <p:sp>
        <p:nvSpPr>
          <p:cNvPr id="15" name="Text Placeholder 5">
            <a:extLst>
              <a:ext uri="{FF2B5EF4-FFF2-40B4-BE49-F238E27FC236}">
                <a16:creationId xmlns:a16="http://schemas.microsoft.com/office/drawing/2014/main" id="{B835BDC8-86DB-9862-5B5C-8F1F85772638}"/>
              </a:ext>
            </a:extLst>
          </p:cNvPr>
          <p:cNvSpPr txBox="1">
            <a:spLocks/>
          </p:cNvSpPr>
          <p:nvPr/>
        </p:nvSpPr>
        <p:spPr>
          <a:xfrm>
            <a:off x="3019809" y="3972367"/>
            <a:ext cx="215855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PC VDE</a:t>
            </a:r>
          </a:p>
          <a:p>
            <a:pPr marL="0" indent="0" algn="ctr">
              <a:buNone/>
            </a:pPr>
            <a:r>
              <a:rPr lang="en-US" dirty="0"/>
              <a:t>1212205</a:t>
            </a:r>
          </a:p>
          <a:p>
            <a:pPr marL="0" indent="0" algn="ctr">
              <a:buNone/>
            </a:pPr>
            <a:r>
              <a:rPr lang="en-US" sz="1400" dirty="0"/>
              <a:t>Needle-nose pliers with blade, angled 45°, notched grip area</a:t>
            </a:r>
          </a:p>
        </p:txBody>
      </p:sp>
      <p:sp>
        <p:nvSpPr>
          <p:cNvPr id="16" name="Text Placeholder 3">
            <a:extLst>
              <a:ext uri="{FF2B5EF4-FFF2-40B4-BE49-F238E27FC236}">
                <a16:creationId xmlns:a16="http://schemas.microsoft.com/office/drawing/2014/main" id="{4C6FE5D6-023A-2EF4-09B1-895618F09390}"/>
              </a:ext>
            </a:extLst>
          </p:cNvPr>
          <p:cNvSpPr txBox="1">
            <a:spLocks/>
          </p:cNvSpPr>
          <p:nvPr/>
        </p:nvSpPr>
        <p:spPr>
          <a:xfrm>
            <a:off x="5331844" y="3939394"/>
            <a:ext cx="2098362"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P VDE</a:t>
            </a:r>
          </a:p>
          <a:p>
            <a:pPr marL="0" indent="0" algn="ctr">
              <a:buNone/>
            </a:pPr>
            <a:r>
              <a:rPr lang="en-US" dirty="0"/>
              <a:t>1212204</a:t>
            </a:r>
            <a:endParaRPr lang="en-US" sz="1400" dirty="0"/>
          </a:p>
          <a:p>
            <a:pPr marL="0" indent="0" algn="ctr">
              <a:buNone/>
            </a:pPr>
            <a:r>
              <a:rPr lang="en-US" sz="1400" dirty="0"/>
              <a:t>Needle-nose pliers with blade, notched grip area</a:t>
            </a:r>
          </a:p>
        </p:txBody>
      </p:sp>
      <p:sp>
        <p:nvSpPr>
          <p:cNvPr id="17" name="Text Placeholder 7">
            <a:extLst>
              <a:ext uri="{FF2B5EF4-FFF2-40B4-BE49-F238E27FC236}">
                <a16:creationId xmlns:a16="http://schemas.microsoft.com/office/drawing/2014/main" id="{B8E56883-39A4-3A92-603E-D40AE23DB74C}"/>
              </a:ext>
            </a:extLst>
          </p:cNvPr>
          <p:cNvSpPr txBox="1">
            <a:spLocks/>
          </p:cNvSpPr>
          <p:nvPr/>
        </p:nvSpPr>
        <p:spPr>
          <a:xfrm>
            <a:off x="7586957" y="3901959"/>
            <a:ext cx="215855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F VDE</a:t>
            </a:r>
          </a:p>
          <a:p>
            <a:pPr marL="0" indent="0" algn="ctr">
              <a:buNone/>
            </a:pPr>
            <a:r>
              <a:rPr lang="en-US" dirty="0"/>
              <a:t>1212363</a:t>
            </a:r>
            <a:endParaRPr lang="en-US" sz="1400" dirty="0"/>
          </a:p>
          <a:p>
            <a:pPr marL="0" indent="0" algn="ctr">
              <a:buNone/>
            </a:pPr>
            <a:r>
              <a:rPr lang="en-US" sz="1400" dirty="0"/>
              <a:t>Flat-nose pliers, finely notched gripping surface</a:t>
            </a:r>
          </a:p>
          <a:p>
            <a:pPr marL="0" indent="0" algn="ctr">
              <a:buNone/>
            </a:pPr>
            <a:endParaRPr lang="en-US" dirty="0"/>
          </a:p>
        </p:txBody>
      </p:sp>
      <p:sp>
        <p:nvSpPr>
          <p:cNvPr id="18" name="Text Placeholder 9">
            <a:extLst>
              <a:ext uri="{FF2B5EF4-FFF2-40B4-BE49-F238E27FC236}">
                <a16:creationId xmlns:a16="http://schemas.microsoft.com/office/drawing/2014/main" id="{DCA97ADC-6921-93B4-8BD5-D9144BE2E289}"/>
              </a:ext>
            </a:extLst>
          </p:cNvPr>
          <p:cNvSpPr txBox="1">
            <a:spLocks/>
          </p:cNvSpPr>
          <p:nvPr/>
        </p:nvSpPr>
        <p:spPr>
          <a:xfrm>
            <a:off x="9902264" y="3939395"/>
            <a:ext cx="215855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UNIFOX – R VDE</a:t>
            </a:r>
          </a:p>
          <a:p>
            <a:pPr marL="0" indent="0" algn="ctr">
              <a:buNone/>
            </a:pPr>
            <a:r>
              <a:rPr lang="en-US" dirty="0"/>
              <a:t>1212364</a:t>
            </a:r>
            <a:endParaRPr lang="en-US" sz="1400" dirty="0"/>
          </a:p>
          <a:p>
            <a:pPr marL="0" indent="0" algn="ctr">
              <a:buNone/>
            </a:pPr>
            <a:r>
              <a:rPr lang="en-US" sz="1400" dirty="0"/>
              <a:t>Round-nose pliers, finely notched grip area</a:t>
            </a:r>
          </a:p>
          <a:p>
            <a:pPr marL="0" indent="0" algn="ctr">
              <a:buNone/>
            </a:pPr>
            <a:endParaRPr lang="en-US" dirty="0"/>
          </a:p>
        </p:txBody>
      </p:sp>
      <p:sp>
        <p:nvSpPr>
          <p:cNvPr id="4" name="Footer Placeholder 3">
            <a:extLst>
              <a:ext uri="{FF2B5EF4-FFF2-40B4-BE49-F238E27FC236}">
                <a16:creationId xmlns:a16="http://schemas.microsoft.com/office/drawing/2014/main" id="{874EC6FA-7C71-C5D4-8504-163CBAEC8B82}"/>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41408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Wire Insulation Stripp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7</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4880D0EF-6DAB-4416-389B-61E45A06F5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16" y="1355464"/>
            <a:ext cx="2285159" cy="2391943"/>
          </a:xfrm>
          <a:prstGeom prst="rect">
            <a:avLst/>
          </a:prstGeom>
        </p:spPr>
      </p:pic>
      <p:pic>
        <p:nvPicPr>
          <p:cNvPr id="9" name="Picture 8">
            <a:extLst>
              <a:ext uri="{FF2B5EF4-FFF2-40B4-BE49-F238E27FC236}">
                <a16:creationId xmlns:a16="http://schemas.microsoft.com/office/drawing/2014/main" id="{0F6DEBDA-0EA8-30B7-1DDD-FFEDFD9A8C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0558" y="1478311"/>
            <a:ext cx="2181766" cy="2283719"/>
          </a:xfrm>
          <a:prstGeom prst="rect">
            <a:avLst/>
          </a:prstGeom>
        </p:spPr>
      </p:pic>
      <p:pic>
        <p:nvPicPr>
          <p:cNvPr id="10" name="Picture 9">
            <a:extLst>
              <a:ext uri="{FF2B5EF4-FFF2-40B4-BE49-F238E27FC236}">
                <a16:creationId xmlns:a16="http://schemas.microsoft.com/office/drawing/2014/main" id="{8085D4C1-164E-EBC6-D564-680480BDD67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9097" y="1296406"/>
            <a:ext cx="2397744" cy="2509788"/>
          </a:xfrm>
          <a:prstGeom prst="rect">
            <a:avLst/>
          </a:prstGeom>
        </p:spPr>
      </p:pic>
      <p:pic>
        <p:nvPicPr>
          <p:cNvPr id="11" name="Picture 10">
            <a:extLst>
              <a:ext uri="{FF2B5EF4-FFF2-40B4-BE49-F238E27FC236}">
                <a16:creationId xmlns:a16="http://schemas.microsoft.com/office/drawing/2014/main" id="{AA4C0D2F-A8A0-AC18-2CF1-289EE11D78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91065" y="1420839"/>
            <a:ext cx="2175028" cy="2276666"/>
          </a:xfrm>
          <a:prstGeom prst="rect">
            <a:avLst/>
          </a:prstGeom>
        </p:spPr>
      </p:pic>
      <p:pic>
        <p:nvPicPr>
          <p:cNvPr id="12" name="Picture 4">
            <a:extLst>
              <a:ext uri="{FF2B5EF4-FFF2-40B4-BE49-F238E27FC236}">
                <a16:creationId xmlns:a16="http://schemas.microsoft.com/office/drawing/2014/main" id="{D7F0FC10-5DFC-35FC-F423-BE53F7210FD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284" t="12990" r="-10166" b="181"/>
          <a:stretch/>
        </p:blipFill>
        <p:spPr bwMode="auto">
          <a:xfrm>
            <a:off x="7592476" y="1814622"/>
            <a:ext cx="2920436" cy="2203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FA748131-8C69-3121-4D09-B6C1BD1CF1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61518" y="1538308"/>
            <a:ext cx="2285158" cy="2391943"/>
          </a:xfrm>
          <a:prstGeom prst="rect">
            <a:avLst/>
          </a:prstGeom>
        </p:spPr>
      </p:pic>
      <p:sp>
        <p:nvSpPr>
          <p:cNvPr id="14" name="Text Placeholder 3">
            <a:extLst>
              <a:ext uri="{FF2B5EF4-FFF2-40B4-BE49-F238E27FC236}">
                <a16:creationId xmlns:a16="http://schemas.microsoft.com/office/drawing/2014/main" id="{EB4F4711-181E-E22E-0EF2-877DB8C91A3F}"/>
              </a:ext>
            </a:extLst>
          </p:cNvPr>
          <p:cNvSpPr txBox="1">
            <a:spLocks/>
          </p:cNvSpPr>
          <p:nvPr/>
        </p:nvSpPr>
        <p:spPr>
          <a:xfrm>
            <a:off x="-1080865" y="3849337"/>
            <a:ext cx="5435859" cy="2262120"/>
          </a:xfrm>
          <a:prstGeom prst="rect">
            <a:avLst/>
          </a:prstGeom>
        </p:spPr>
        <p:txBody>
          <a:bodyPr vert="horz" lIns="0" tIns="36000" rIns="0" bIns="36000" rtlCol="0">
            <a:noAutofit/>
          </a:bodyPr>
          <a:lstStyle>
            <a:lvl1pPr marL="0" indent="0" algn="ctr" rtl="0" eaLnBrk="1" fontAlgn="base" hangingPunct="1">
              <a:lnSpc>
                <a:spcPct val="100000"/>
              </a:lnSpc>
              <a:spcBef>
                <a:spcPts val="800"/>
              </a:spcBef>
              <a:spcAft>
                <a:spcPct val="0"/>
              </a:spcAft>
              <a:buClr>
                <a:schemeClr val="folHlink"/>
              </a:buClr>
              <a:buFont typeface="Wingdings" charset="2"/>
              <a:buNone/>
              <a:defRPr sz="1800" baseline="0">
                <a:solidFill>
                  <a:schemeClr val="tx1"/>
                </a:solidFill>
                <a:latin typeface="+mn-lt"/>
                <a:ea typeface="+mn-ea"/>
                <a:cs typeface="+mn-cs"/>
              </a:defRPr>
            </a:lvl1pPr>
            <a:lvl2pPr marL="216000" indent="0" algn="l" rtl="0" eaLnBrk="1" fontAlgn="base" hangingPunct="1">
              <a:lnSpc>
                <a:spcPct val="100000"/>
              </a:lnSpc>
              <a:spcBef>
                <a:spcPts val="800"/>
              </a:spcBef>
              <a:spcAft>
                <a:spcPct val="0"/>
              </a:spcAft>
              <a:buClr>
                <a:schemeClr val="folHlink"/>
              </a:buClr>
              <a:buFont typeface="Wingdings" charset="2"/>
              <a:buNone/>
              <a:defRPr sz="1800">
                <a:solidFill>
                  <a:schemeClr val="tx1"/>
                </a:solidFill>
                <a:latin typeface="+mn-lt"/>
                <a:cs typeface="+mn-cs"/>
              </a:defRPr>
            </a:lvl2pPr>
            <a:lvl3pPr marL="432000" indent="0" algn="l" rtl="0" eaLnBrk="1" fontAlgn="base" hangingPunct="1">
              <a:lnSpc>
                <a:spcPct val="100000"/>
              </a:lnSpc>
              <a:spcBef>
                <a:spcPts val="800"/>
              </a:spcBef>
              <a:spcAft>
                <a:spcPct val="0"/>
              </a:spcAft>
              <a:buClr>
                <a:schemeClr val="folHlink"/>
              </a:buClr>
              <a:buFont typeface="Wingdings" charset="2"/>
              <a:buNone/>
              <a:defRPr sz="1800">
                <a:solidFill>
                  <a:schemeClr val="tx1"/>
                </a:solidFill>
                <a:latin typeface="+mn-lt"/>
                <a:cs typeface="+mn-cs"/>
              </a:defRPr>
            </a:lvl3pPr>
            <a:lvl4pPr marL="648000" indent="0" algn="l" rtl="0" eaLnBrk="1" fontAlgn="base" hangingPunct="1">
              <a:lnSpc>
                <a:spcPct val="100000"/>
              </a:lnSpc>
              <a:spcBef>
                <a:spcPts val="800"/>
              </a:spcBef>
              <a:spcAft>
                <a:spcPct val="0"/>
              </a:spcAft>
              <a:buClr>
                <a:schemeClr val="folHlink"/>
              </a:buClr>
              <a:buFont typeface="Wingdings" charset="2"/>
              <a:buNone/>
              <a:defRPr sz="1800">
                <a:solidFill>
                  <a:schemeClr val="tx1"/>
                </a:solidFill>
                <a:latin typeface="+mn-lt"/>
                <a:cs typeface="+mn-cs"/>
              </a:defRPr>
            </a:lvl4pPr>
            <a:lvl5pPr marL="864000" indent="0" algn="l" rtl="0" eaLnBrk="1" fontAlgn="base" hangingPunct="1">
              <a:lnSpc>
                <a:spcPct val="100000"/>
              </a:lnSpc>
              <a:spcBef>
                <a:spcPts val="800"/>
              </a:spcBef>
              <a:spcAft>
                <a:spcPct val="0"/>
              </a:spcAft>
              <a:buClr>
                <a:schemeClr val="folHlink"/>
              </a:buClr>
              <a:buFont typeface="Wingdings" charset="2"/>
              <a:buNone/>
              <a:defRPr sz="1800">
                <a:solidFill>
                  <a:schemeClr val="tx1"/>
                </a:solidFill>
                <a:latin typeface="+mn-lt"/>
                <a:cs typeface="+mn-cs"/>
              </a:defRPr>
            </a:lvl5pPr>
            <a:lvl6pPr marL="1224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6pPr>
            <a:lvl7pPr marL="1440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7pPr>
            <a:lvl8pPr marL="1512000" indent="0" algn="l" rtl="0" eaLnBrk="1" fontAlgn="base" hangingPunct="1">
              <a:spcBef>
                <a:spcPts val="900"/>
              </a:spcBef>
              <a:spcAft>
                <a:spcPct val="0"/>
              </a:spcAft>
              <a:buClr>
                <a:schemeClr val="folHlink"/>
              </a:buClr>
              <a:buFont typeface="Wingdings" charset="2"/>
              <a:buNone/>
              <a:defRPr sz="1800">
                <a:solidFill>
                  <a:schemeClr val="tx1"/>
                </a:solidFill>
                <a:latin typeface="+mn-lt"/>
                <a:cs typeface="+mn-cs"/>
              </a:defRPr>
            </a:lvl8pPr>
            <a:lvl9pPr marL="1872000" indent="-144000" algn="l" rtl="0" eaLnBrk="1" fontAlgn="base" hangingPunct="1">
              <a:spcBef>
                <a:spcPct val="20000"/>
              </a:spcBef>
              <a:spcAft>
                <a:spcPct val="0"/>
              </a:spcAft>
              <a:buClr>
                <a:schemeClr val="folHlink"/>
              </a:buClr>
              <a:buFont typeface="Wingdings" charset="2"/>
              <a:buChar char="§"/>
              <a:defRPr sz="1800">
                <a:solidFill>
                  <a:schemeClr val="tx1"/>
                </a:solidFill>
                <a:latin typeface="+mn-lt"/>
                <a:cs typeface="+mn-cs"/>
              </a:defRPr>
            </a:lvl9pPr>
          </a:lstStyle>
          <a:p>
            <a:r>
              <a:rPr lang="en-US" dirty="0"/>
              <a:t>WIREFOX – 4  1212159</a:t>
            </a:r>
          </a:p>
          <a:p>
            <a:r>
              <a:rPr lang="en-US" dirty="0"/>
              <a:t>WIREFOX-E 4  1212704</a:t>
            </a:r>
          </a:p>
          <a:p>
            <a:r>
              <a:rPr lang="en-US" dirty="0"/>
              <a:t>28-12 AWG</a:t>
            </a:r>
          </a:p>
          <a:p>
            <a:r>
              <a:rPr lang="en-US" dirty="0"/>
              <a:t>WIREFOX – 6SC 1212158</a:t>
            </a:r>
          </a:p>
          <a:p>
            <a:r>
              <a:rPr lang="en-US" dirty="0"/>
              <a:t>WIREFOX-E 6SC 1212705</a:t>
            </a:r>
          </a:p>
          <a:p>
            <a:r>
              <a:rPr lang="en-US" dirty="0"/>
              <a:t>16-8 AWG</a:t>
            </a:r>
          </a:p>
        </p:txBody>
      </p:sp>
      <p:sp>
        <p:nvSpPr>
          <p:cNvPr id="15" name="Text Placeholder 3">
            <a:extLst>
              <a:ext uri="{FF2B5EF4-FFF2-40B4-BE49-F238E27FC236}">
                <a16:creationId xmlns:a16="http://schemas.microsoft.com/office/drawing/2014/main" id="{7925A1A0-CA34-0059-5CD6-2BCE65D2AB20}"/>
              </a:ext>
            </a:extLst>
          </p:cNvPr>
          <p:cNvSpPr txBox="1">
            <a:spLocks/>
          </p:cNvSpPr>
          <p:nvPr/>
        </p:nvSpPr>
        <p:spPr>
          <a:xfrm>
            <a:off x="4316904" y="4229079"/>
            <a:ext cx="2902069" cy="126056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10  1212150</a:t>
            </a:r>
          </a:p>
          <a:p>
            <a:pPr marL="0" indent="0" algn="ctr">
              <a:buNone/>
            </a:pPr>
            <a:r>
              <a:rPr lang="en-US" dirty="0"/>
              <a:t>WIREFOX-E 10  1212706</a:t>
            </a:r>
          </a:p>
          <a:p>
            <a:pPr marL="0" indent="0" algn="ctr">
              <a:buNone/>
            </a:pPr>
            <a:r>
              <a:rPr lang="en-US" dirty="0"/>
              <a:t>34-8 AWG</a:t>
            </a:r>
          </a:p>
        </p:txBody>
      </p:sp>
      <p:sp>
        <p:nvSpPr>
          <p:cNvPr id="16" name="Text Placeholder 5">
            <a:extLst>
              <a:ext uri="{FF2B5EF4-FFF2-40B4-BE49-F238E27FC236}">
                <a16:creationId xmlns:a16="http://schemas.microsoft.com/office/drawing/2014/main" id="{18F6220F-E3A8-B7EB-A48B-9DC0A8315E37}"/>
              </a:ext>
            </a:extLst>
          </p:cNvPr>
          <p:cNvSpPr txBox="1">
            <a:spLocks/>
          </p:cNvSpPr>
          <p:nvPr/>
        </p:nvSpPr>
        <p:spPr>
          <a:xfrm>
            <a:off x="8915486" y="4027638"/>
            <a:ext cx="2894443" cy="129925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16  1212155</a:t>
            </a:r>
          </a:p>
          <a:p>
            <a:pPr marL="0" indent="0" algn="ctr">
              <a:buNone/>
            </a:pPr>
            <a:r>
              <a:rPr lang="en-US" dirty="0"/>
              <a:t>WIREFOX-E 16  1212707</a:t>
            </a:r>
          </a:p>
          <a:p>
            <a:pPr marL="0" indent="0" algn="ctr">
              <a:buNone/>
            </a:pPr>
            <a:r>
              <a:rPr lang="en-US" dirty="0"/>
              <a:t>12-5 AWG</a:t>
            </a:r>
          </a:p>
        </p:txBody>
      </p:sp>
      <p:sp>
        <p:nvSpPr>
          <p:cNvPr id="17" name="Text Placeholder 3">
            <a:extLst>
              <a:ext uri="{FF2B5EF4-FFF2-40B4-BE49-F238E27FC236}">
                <a16:creationId xmlns:a16="http://schemas.microsoft.com/office/drawing/2014/main" id="{480E3897-E3CE-A637-98B2-1862D03433E9}"/>
              </a:ext>
            </a:extLst>
          </p:cNvPr>
          <p:cNvSpPr txBox="1">
            <a:spLocks/>
          </p:cNvSpPr>
          <p:nvPr/>
        </p:nvSpPr>
        <p:spPr>
          <a:xfrm>
            <a:off x="5007108" y="2848254"/>
            <a:ext cx="1521662" cy="36495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Flat blade</a:t>
            </a:r>
          </a:p>
        </p:txBody>
      </p:sp>
      <p:sp>
        <p:nvSpPr>
          <p:cNvPr id="18" name="Text Placeholder 3">
            <a:extLst>
              <a:ext uri="{FF2B5EF4-FFF2-40B4-BE49-F238E27FC236}">
                <a16:creationId xmlns:a16="http://schemas.microsoft.com/office/drawing/2014/main" id="{A4B097B9-9E1B-943E-BB8D-E22269867E4D}"/>
              </a:ext>
            </a:extLst>
          </p:cNvPr>
          <p:cNvSpPr txBox="1">
            <a:spLocks/>
          </p:cNvSpPr>
          <p:nvPr/>
        </p:nvSpPr>
        <p:spPr>
          <a:xfrm>
            <a:off x="9371217" y="2790074"/>
            <a:ext cx="1521662" cy="36495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Oval blade</a:t>
            </a:r>
          </a:p>
        </p:txBody>
      </p:sp>
      <p:sp>
        <p:nvSpPr>
          <p:cNvPr id="19" name="Text Placeholder 3">
            <a:extLst>
              <a:ext uri="{FF2B5EF4-FFF2-40B4-BE49-F238E27FC236}">
                <a16:creationId xmlns:a16="http://schemas.microsoft.com/office/drawing/2014/main" id="{26F78B86-CDA0-35D0-4ADB-AB1D141B6029}"/>
              </a:ext>
            </a:extLst>
          </p:cNvPr>
          <p:cNvSpPr txBox="1">
            <a:spLocks/>
          </p:cNvSpPr>
          <p:nvPr/>
        </p:nvSpPr>
        <p:spPr>
          <a:xfrm>
            <a:off x="1225215" y="2776096"/>
            <a:ext cx="1521662" cy="36495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V-blade</a:t>
            </a:r>
          </a:p>
        </p:txBody>
      </p:sp>
      <p:sp>
        <p:nvSpPr>
          <p:cNvPr id="4" name="Footer Placeholder 3">
            <a:extLst>
              <a:ext uri="{FF2B5EF4-FFF2-40B4-BE49-F238E27FC236}">
                <a16:creationId xmlns:a16="http://schemas.microsoft.com/office/drawing/2014/main" id="{C1D756B7-F61B-85B8-0DEC-685B7D47765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31480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8</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88967"/>
            <a:ext cx="2100228" cy="673150"/>
          </a:xfrm>
          <a:prstGeom prst="rect">
            <a:avLst/>
          </a:prstGeom>
        </p:spPr>
      </p:pic>
      <p:pic>
        <p:nvPicPr>
          <p:cNvPr id="6" name="Picture 2">
            <a:extLst>
              <a:ext uri="{FF2B5EF4-FFF2-40B4-BE49-F238E27FC236}">
                <a16:creationId xmlns:a16="http://schemas.microsoft.com/office/drawing/2014/main" id="{6A6C194B-36EB-7693-9B60-B6BA1E29988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00941" y="1437166"/>
            <a:ext cx="4459879" cy="445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a:extLst>
              <a:ext uri="{FF2B5EF4-FFF2-40B4-BE49-F238E27FC236}">
                <a16:creationId xmlns:a16="http://schemas.microsoft.com/office/drawing/2014/main" id="{6AC4915A-71C7-2B39-5BD2-1BCF992F45E5}"/>
              </a:ext>
            </a:extLst>
          </p:cNvPr>
          <p:cNvGrpSpPr/>
          <p:nvPr/>
        </p:nvGrpSpPr>
        <p:grpSpPr>
          <a:xfrm rot="5400000">
            <a:off x="4195010" y="2844303"/>
            <a:ext cx="4459881" cy="1645608"/>
            <a:chOff x="299620" y="3348095"/>
            <a:chExt cx="4009688" cy="1205620"/>
          </a:xfrm>
        </p:grpSpPr>
        <p:pic>
          <p:nvPicPr>
            <p:cNvPr id="10" name="Picture 19" descr="2009-01-20_CA Leiterenden">
              <a:extLst>
                <a:ext uri="{FF2B5EF4-FFF2-40B4-BE49-F238E27FC236}">
                  <a16:creationId xmlns:a16="http://schemas.microsoft.com/office/drawing/2014/main" id="{439FBDBA-D7E7-A977-38C0-70792EF6130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3568" r="17586" b="15205"/>
            <a:stretch/>
          </p:blipFill>
          <p:spPr bwMode="auto">
            <a:xfrm>
              <a:off x="1687769" y="3348095"/>
              <a:ext cx="2621539" cy="1095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8">
              <a:extLst>
                <a:ext uri="{FF2B5EF4-FFF2-40B4-BE49-F238E27FC236}">
                  <a16:creationId xmlns:a16="http://schemas.microsoft.com/office/drawing/2014/main" id="{0FF9D9E7-9A98-C840-E597-8FE2692C1432}"/>
                </a:ext>
              </a:extLst>
            </p:cNvPr>
            <p:cNvGrpSpPr>
              <a:grpSpLocks/>
            </p:cNvGrpSpPr>
            <p:nvPr/>
          </p:nvGrpSpPr>
          <p:grpSpPr bwMode="auto">
            <a:xfrm>
              <a:off x="299620" y="3363735"/>
              <a:ext cx="2486190" cy="1189980"/>
              <a:chOff x="3141" y="1027"/>
              <a:chExt cx="2506" cy="1224"/>
            </a:xfrm>
          </p:grpSpPr>
          <p:pic>
            <p:nvPicPr>
              <p:cNvPr id="12" name="Picture 11" descr="2009-01-22_diverse Fotos 012">
                <a:extLst>
                  <a:ext uri="{FF2B5EF4-FFF2-40B4-BE49-F238E27FC236}">
                    <a16:creationId xmlns:a16="http://schemas.microsoft.com/office/drawing/2014/main" id="{B1F577CB-ADCB-9712-6841-FBAB2E166A3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41" y="1027"/>
                <a:ext cx="1385" cy="1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5" descr="2009-01-22_diverse Fotos 009">
                <a:extLst>
                  <a:ext uri="{FF2B5EF4-FFF2-40B4-BE49-F238E27FC236}">
                    <a16:creationId xmlns:a16="http://schemas.microsoft.com/office/drawing/2014/main" id="{C8647A7A-A169-BBCE-60D0-CE5902DC51A3}"/>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412174">
                <a:off x="3650" y="1072"/>
                <a:ext cx="1498" cy="1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6" descr="2009-01-22_diverse Fotos 011">
                <a:extLst>
                  <a:ext uri="{FF2B5EF4-FFF2-40B4-BE49-F238E27FC236}">
                    <a16:creationId xmlns:a16="http://schemas.microsoft.com/office/drawing/2014/main" id="{6D211DFF-3AD2-5D2E-BD44-C04259D9619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16865">
                <a:off x="4094" y="1117"/>
                <a:ext cx="1553"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5" name="Content Placeholder 3">
            <a:extLst>
              <a:ext uri="{FF2B5EF4-FFF2-40B4-BE49-F238E27FC236}">
                <a16:creationId xmlns:a16="http://schemas.microsoft.com/office/drawing/2014/main" id="{0D2C15CF-F87B-A99F-CF14-B534A7E4EA35}"/>
              </a:ext>
            </a:extLst>
          </p:cNvPr>
          <p:cNvSpPr txBox="1">
            <a:spLocks/>
          </p:cNvSpPr>
          <p:nvPr/>
        </p:nvSpPr>
        <p:spPr>
          <a:xfrm>
            <a:off x="550872" y="1979927"/>
            <a:ext cx="4847829" cy="332287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dirty="0"/>
              <a:t>Stripping and dismantling</a:t>
            </a:r>
          </a:p>
          <a:p>
            <a:pPr lvl="1">
              <a:spcBef>
                <a:spcPts val="600"/>
              </a:spcBef>
              <a:buClr>
                <a:schemeClr val="folHlink"/>
              </a:buClr>
            </a:pPr>
            <a:r>
              <a:rPr lang="de-DE" dirty="0"/>
              <a:t>of standard cables </a:t>
            </a:r>
          </a:p>
          <a:p>
            <a:pPr lvl="1">
              <a:spcBef>
                <a:spcPts val="600"/>
              </a:spcBef>
              <a:buClr>
                <a:schemeClr val="folHlink"/>
              </a:buClr>
            </a:pPr>
            <a:r>
              <a:rPr lang="de-DE" dirty="0"/>
              <a:t>and conductors</a:t>
            </a:r>
          </a:p>
          <a:p>
            <a:pPr>
              <a:spcBef>
                <a:spcPts val="600"/>
              </a:spcBef>
            </a:pPr>
            <a:r>
              <a:rPr lang="de-DE" dirty="0"/>
              <a:t>Integrated cutter</a:t>
            </a:r>
          </a:p>
          <a:p>
            <a:pPr>
              <a:spcBef>
                <a:spcPts val="600"/>
              </a:spcBef>
            </a:pPr>
            <a:r>
              <a:rPr lang="de-DE" dirty="0"/>
              <a:t>Ergonomic design</a:t>
            </a:r>
          </a:p>
          <a:p>
            <a:pPr>
              <a:spcBef>
                <a:spcPts val="600"/>
              </a:spcBef>
            </a:pPr>
            <a:r>
              <a:rPr lang="de-DE" dirty="0"/>
              <a:t>Blades replaceable and interchangeable</a:t>
            </a:r>
          </a:p>
          <a:p>
            <a:pPr>
              <a:spcBef>
                <a:spcPts val="600"/>
              </a:spcBef>
            </a:pPr>
            <a:r>
              <a:rPr lang="de-DE" dirty="0"/>
              <a:t>Non-slip handles</a:t>
            </a:r>
          </a:p>
          <a:p>
            <a:pPr>
              <a:spcBef>
                <a:spcPts val="600"/>
              </a:spcBef>
            </a:pPr>
            <a:r>
              <a:rPr lang="de-DE" dirty="0"/>
              <a:t>Special blade geometries</a:t>
            </a:r>
          </a:p>
          <a:p>
            <a:pPr>
              <a:spcBef>
                <a:spcPts val="600"/>
              </a:spcBef>
            </a:pPr>
            <a:r>
              <a:rPr lang="de-DE" dirty="0"/>
              <a:t>Adjustable for insulation thickness</a:t>
            </a:r>
          </a:p>
        </p:txBody>
      </p:sp>
      <p:sp>
        <p:nvSpPr>
          <p:cNvPr id="4" name="Footer Placeholder 3">
            <a:extLst>
              <a:ext uri="{FF2B5EF4-FFF2-40B4-BE49-F238E27FC236}">
                <a16:creationId xmlns:a16="http://schemas.microsoft.com/office/drawing/2014/main" id="{26C6019B-88CD-2E11-2E10-FAE4A9D6E8CD}"/>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6953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Competitor Comparison</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19</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4">
            <a:extLst>
              <a:ext uri="{FF2B5EF4-FFF2-40B4-BE49-F238E27FC236}">
                <a16:creationId xmlns:a16="http://schemas.microsoft.com/office/drawing/2014/main" id="{7B158804-14AA-1681-039D-89D8453DFFA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100" y="1998113"/>
            <a:ext cx="2811473" cy="647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7" descr="wirefox 10">
            <a:extLst>
              <a:ext uri="{FF2B5EF4-FFF2-40B4-BE49-F238E27FC236}">
                <a16:creationId xmlns:a16="http://schemas.microsoft.com/office/drawing/2014/main" id="{EF91337F-0E89-BF00-C260-7CCE49C7261D}"/>
              </a:ext>
            </a:extLst>
          </p:cNvPr>
          <p:cNvPicPr>
            <a:picLocks noChangeAspect="1" noChangeArrowheads="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022962" y="1151480"/>
            <a:ext cx="2253888" cy="2216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
            <a:extLst>
              <a:ext uri="{FF2B5EF4-FFF2-40B4-BE49-F238E27FC236}">
                <a16:creationId xmlns:a16="http://schemas.microsoft.com/office/drawing/2014/main" id="{BAC9433F-37ED-24CA-B00B-381417174AF8}"/>
              </a:ext>
            </a:extLst>
          </p:cNvPr>
          <p:cNvSpPr txBox="1">
            <a:spLocks/>
          </p:cNvSpPr>
          <p:nvPr/>
        </p:nvSpPr>
        <p:spPr>
          <a:xfrm>
            <a:off x="5693208" y="2160348"/>
            <a:ext cx="635387" cy="445926"/>
          </a:xfrm>
          <a:prstGeom prst="rect">
            <a:avLst/>
          </a:prstGeom>
        </p:spPr>
        <p:txBody>
          <a:bodyPr/>
          <a:lstStyle>
            <a:lvl1pPr marL="144000" indent="-144000" algn="l" rtl="0" eaLnBrk="1" fontAlgn="base" hangingPunct="1">
              <a:lnSpc>
                <a:spcPct val="100000"/>
              </a:lnSpc>
              <a:spcBef>
                <a:spcPts val="800"/>
              </a:spcBef>
              <a:spcAft>
                <a:spcPct val="0"/>
              </a:spcAft>
              <a:buClr>
                <a:schemeClr val="folHlink"/>
              </a:buClr>
              <a:buFont typeface="Wingdings" charset="2"/>
              <a:buChar char="§"/>
              <a:defRPr sz="1800" baseline="0">
                <a:solidFill>
                  <a:schemeClr val="tx1"/>
                </a:solidFill>
                <a:latin typeface="+mn-lt"/>
                <a:ea typeface="+mn-ea"/>
                <a:cs typeface="+mn-cs"/>
              </a:defRPr>
            </a:lvl1pPr>
            <a:lvl2pPr marL="360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2pPr>
            <a:lvl3pPr marL="576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3pPr>
            <a:lvl4pPr marL="792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4pPr>
            <a:lvl5pPr marL="1008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5pPr>
            <a:lvl6pPr marL="1224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6pPr>
            <a:lvl7pPr marL="1440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7pPr>
            <a:lvl8pPr marL="1512000" indent="0" algn="l" rtl="0" eaLnBrk="1" fontAlgn="base" hangingPunct="1">
              <a:spcBef>
                <a:spcPts val="900"/>
              </a:spcBef>
              <a:spcAft>
                <a:spcPct val="0"/>
              </a:spcAft>
              <a:buClr>
                <a:schemeClr val="folHlink"/>
              </a:buClr>
              <a:buFont typeface="Wingdings" charset="2"/>
              <a:buNone/>
              <a:defRPr sz="1800">
                <a:solidFill>
                  <a:schemeClr val="tx1"/>
                </a:solidFill>
                <a:latin typeface="+mn-lt"/>
                <a:cs typeface="+mn-cs"/>
              </a:defRPr>
            </a:lvl8pPr>
            <a:lvl9pPr marL="1872000" indent="-144000" algn="l" rtl="0" eaLnBrk="1" fontAlgn="base" hangingPunct="1">
              <a:spcBef>
                <a:spcPct val="20000"/>
              </a:spcBef>
              <a:spcAft>
                <a:spcPct val="0"/>
              </a:spcAft>
              <a:buClr>
                <a:schemeClr val="folHlink"/>
              </a:buClr>
              <a:buFont typeface="Wingdings" charset="2"/>
              <a:buChar char="§"/>
              <a:defRPr sz="1800">
                <a:solidFill>
                  <a:schemeClr val="tx1"/>
                </a:solidFill>
                <a:latin typeface="+mn-lt"/>
                <a:cs typeface="+mn-cs"/>
              </a:defRPr>
            </a:lvl9pPr>
          </a:lstStyle>
          <a:p>
            <a:pPr marL="0" indent="0">
              <a:buNone/>
            </a:pPr>
            <a:r>
              <a:rPr lang="en-US" b="1" dirty="0"/>
              <a:t>VS.</a:t>
            </a:r>
          </a:p>
        </p:txBody>
      </p:sp>
      <p:sp>
        <p:nvSpPr>
          <p:cNvPr id="11" name="Text Placeholder 3">
            <a:extLst>
              <a:ext uri="{FF2B5EF4-FFF2-40B4-BE49-F238E27FC236}">
                <a16:creationId xmlns:a16="http://schemas.microsoft.com/office/drawing/2014/main" id="{2419BE1E-DCF8-8725-F478-9C2A2C7A06CC}"/>
              </a:ext>
            </a:extLst>
          </p:cNvPr>
          <p:cNvSpPr txBox="1">
            <a:spLocks/>
          </p:cNvSpPr>
          <p:nvPr/>
        </p:nvSpPr>
        <p:spPr>
          <a:xfrm>
            <a:off x="513995" y="3261367"/>
            <a:ext cx="5452210" cy="3129566"/>
          </a:xfrm>
          <a:prstGeom prst="rect">
            <a:avLst/>
          </a:prstGeom>
        </p:spPr>
        <p:txBody>
          <a:bodyPr/>
          <a:lstStyle>
            <a:lvl1pPr marL="144000" indent="-144000" algn="l" rtl="0" eaLnBrk="1" fontAlgn="base" hangingPunct="1">
              <a:lnSpc>
                <a:spcPct val="100000"/>
              </a:lnSpc>
              <a:spcBef>
                <a:spcPts val="800"/>
              </a:spcBef>
              <a:spcAft>
                <a:spcPct val="0"/>
              </a:spcAft>
              <a:buClr>
                <a:schemeClr val="folHlink"/>
              </a:buClr>
              <a:buFont typeface="Wingdings" charset="2"/>
              <a:buChar char="§"/>
              <a:defRPr sz="1800" baseline="0">
                <a:solidFill>
                  <a:schemeClr val="tx1"/>
                </a:solidFill>
                <a:latin typeface="+mn-lt"/>
                <a:ea typeface="+mn-ea"/>
                <a:cs typeface="+mn-cs"/>
              </a:defRPr>
            </a:lvl1pPr>
            <a:lvl2pPr marL="360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2pPr>
            <a:lvl3pPr marL="576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3pPr>
            <a:lvl4pPr marL="792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4pPr>
            <a:lvl5pPr marL="1008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5pPr>
            <a:lvl6pPr marL="1224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6pPr>
            <a:lvl7pPr marL="1440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7pPr>
            <a:lvl8pPr marL="1512000" indent="0" algn="l" rtl="0" eaLnBrk="1" fontAlgn="base" hangingPunct="1">
              <a:spcBef>
                <a:spcPts val="900"/>
              </a:spcBef>
              <a:spcAft>
                <a:spcPct val="0"/>
              </a:spcAft>
              <a:buClr>
                <a:schemeClr val="folHlink"/>
              </a:buClr>
              <a:buFont typeface="Wingdings" charset="2"/>
              <a:buNone/>
              <a:defRPr sz="1800">
                <a:solidFill>
                  <a:schemeClr val="tx1"/>
                </a:solidFill>
                <a:latin typeface="+mn-lt"/>
                <a:cs typeface="+mn-cs"/>
              </a:defRPr>
            </a:lvl8pPr>
            <a:lvl9pPr marL="1872000" indent="-144000" algn="l" rtl="0" eaLnBrk="1" fontAlgn="base" hangingPunct="1">
              <a:spcBef>
                <a:spcPct val="20000"/>
              </a:spcBef>
              <a:spcAft>
                <a:spcPct val="0"/>
              </a:spcAft>
              <a:buClr>
                <a:schemeClr val="folHlink"/>
              </a:buClr>
              <a:buFont typeface="Wingdings" charset="2"/>
              <a:buChar char="§"/>
              <a:defRPr sz="1800">
                <a:solidFill>
                  <a:schemeClr val="tx1"/>
                </a:solidFill>
                <a:latin typeface="+mn-lt"/>
                <a:cs typeface="+mn-cs"/>
              </a:defRPr>
            </a:lvl9pPr>
          </a:lstStyle>
          <a:p>
            <a:pPr>
              <a:spcBef>
                <a:spcPts val="600"/>
              </a:spcBef>
            </a:pPr>
            <a:r>
              <a:rPr lang="en-US" dirty="0"/>
              <a:t>Open die -  wide range of AWG’s</a:t>
            </a:r>
          </a:p>
          <a:p>
            <a:pPr>
              <a:spcBef>
                <a:spcPts val="600"/>
              </a:spcBef>
            </a:pPr>
            <a:r>
              <a:rPr lang="en-US" dirty="0"/>
              <a:t>Consistent strip length</a:t>
            </a:r>
          </a:p>
          <a:p>
            <a:pPr>
              <a:spcBef>
                <a:spcPts val="600"/>
              </a:spcBef>
            </a:pPr>
            <a:r>
              <a:rPr lang="en-US" dirty="0"/>
              <a:t>Replaceable and interchangeable dies</a:t>
            </a:r>
          </a:p>
          <a:p>
            <a:pPr>
              <a:spcBef>
                <a:spcPts val="600"/>
              </a:spcBef>
            </a:pPr>
            <a:r>
              <a:rPr lang="en-US" dirty="0"/>
              <a:t>Special geometry stripping blades</a:t>
            </a:r>
          </a:p>
          <a:p>
            <a:pPr>
              <a:spcBef>
                <a:spcPts val="600"/>
              </a:spcBef>
            </a:pPr>
            <a:r>
              <a:rPr lang="en-US" dirty="0"/>
              <a:t>Integrated cutter</a:t>
            </a:r>
          </a:p>
          <a:p>
            <a:pPr>
              <a:spcBef>
                <a:spcPts val="600"/>
              </a:spcBef>
            </a:pPr>
            <a:r>
              <a:rPr lang="en-US" dirty="0"/>
              <a:t>2-component, ergonomic handles</a:t>
            </a:r>
          </a:p>
          <a:p>
            <a:pPr>
              <a:spcBef>
                <a:spcPts val="600"/>
              </a:spcBef>
            </a:pPr>
            <a:r>
              <a:rPr lang="en-US" dirty="0"/>
              <a:t>Insulation thickness and grip strength adjustable</a:t>
            </a:r>
          </a:p>
        </p:txBody>
      </p:sp>
      <p:sp>
        <p:nvSpPr>
          <p:cNvPr id="12" name="Text Placeholder 3">
            <a:extLst>
              <a:ext uri="{FF2B5EF4-FFF2-40B4-BE49-F238E27FC236}">
                <a16:creationId xmlns:a16="http://schemas.microsoft.com/office/drawing/2014/main" id="{5A6BF89A-C38B-6930-7386-922865407B49}"/>
              </a:ext>
            </a:extLst>
          </p:cNvPr>
          <p:cNvSpPr txBox="1">
            <a:spLocks/>
          </p:cNvSpPr>
          <p:nvPr/>
        </p:nvSpPr>
        <p:spPr>
          <a:xfrm>
            <a:off x="6819900" y="3482848"/>
            <a:ext cx="5124450" cy="2269909"/>
          </a:xfrm>
          <a:prstGeom prst="rect">
            <a:avLst/>
          </a:prstGeom>
        </p:spPr>
        <p:txBody>
          <a:bodyPr/>
          <a:lstStyle>
            <a:lvl1pPr marL="144000" indent="-144000" algn="l" rtl="0" eaLnBrk="1" fontAlgn="base" hangingPunct="1">
              <a:lnSpc>
                <a:spcPct val="100000"/>
              </a:lnSpc>
              <a:spcBef>
                <a:spcPts val="800"/>
              </a:spcBef>
              <a:spcAft>
                <a:spcPct val="0"/>
              </a:spcAft>
              <a:buClr>
                <a:schemeClr val="folHlink"/>
              </a:buClr>
              <a:buFont typeface="Wingdings" charset="2"/>
              <a:buChar char="§"/>
              <a:defRPr sz="1800" baseline="0">
                <a:solidFill>
                  <a:schemeClr val="tx1"/>
                </a:solidFill>
                <a:latin typeface="+mn-lt"/>
                <a:ea typeface="+mn-ea"/>
                <a:cs typeface="+mn-cs"/>
              </a:defRPr>
            </a:lvl1pPr>
            <a:lvl2pPr marL="360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2pPr>
            <a:lvl3pPr marL="576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3pPr>
            <a:lvl4pPr marL="792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4pPr>
            <a:lvl5pPr marL="1008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5pPr>
            <a:lvl6pPr marL="1224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6pPr>
            <a:lvl7pPr marL="1440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7pPr>
            <a:lvl8pPr marL="1512000" indent="0" algn="l" rtl="0" eaLnBrk="1" fontAlgn="base" hangingPunct="1">
              <a:spcBef>
                <a:spcPts val="900"/>
              </a:spcBef>
              <a:spcAft>
                <a:spcPct val="0"/>
              </a:spcAft>
              <a:buClr>
                <a:schemeClr val="folHlink"/>
              </a:buClr>
              <a:buFont typeface="Wingdings" charset="2"/>
              <a:buNone/>
              <a:defRPr sz="1800">
                <a:solidFill>
                  <a:schemeClr val="tx1"/>
                </a:solidFill>
                <a:latin typeface="+mn-lt"/>
                <a:cs typeface="+mn-cs"/>
              </a:defRPr>
            </a:lvl8pPr>
            <a:lvl9pPr marL="1872000" indent="-144000" algn="l" rtl="0" eaLnBrk="1" fontAlgn="base" hangingPunct="1">
              <a:spcBef>
                <a:spcPct val="20000"/>
              </a:spcBef>
              <a:spcAft>
                <a:spcPct val="0"/>
              </a:spcAft>
              <a:buClr>
                <a:schemeClr val="folHlink"/>
              </a:buClr>
              <a:buFont typeface="Wingdings" charset="2"/>
              <a:buChar char="§"/>
              <a:defRPr sz="1800">
                <a:solidFill>
                  <a:schemeClr val="tx1"/>
                </a:solidFill>
                <a:latin typeface="+mn-lt"/>
                <a:cs typeface="+mn-cs"/>
              </a:defRPr>
            </a:lvl9pPr>
          </a:lstStyle>
          <a:p>
            <a:pPr>
              <a:spcBef>
                <a:spcPts val="600"/>
              </a:spcBef>
            </a:pPr>
            <a:r>
              <a:rPr lang="en-US" dirty="0"/>
              <a:t>Nested die – specific AWG in each groove</a:t>
            </a:r>
          </a:p>
          <a:p>
            <a:pPr>
              <a:spcBef>
                <a:spcPts val="600"/>
              </a:spcBef>
            </a:pPr>
            <a:r>
              <a:rPr lang="en-US" dirty="0"/>
              <a:t>Inconsistent strip length</a:t>
            </a:r>
          </a:p>
          <a:p>
            <a:pPr>
              <a:spcBef>
                <a:spcPts val="600"/>
              </a:spcBef>
            </a:pPr>
            <a:r>
              <a:rPr lang="en-US" dirty="0"/>
              <a:t>Minimal AWG range</a:t>
            </a:r>
          </a:p>
          <a:p>
            <a:pPr>
              <a:spcBef>
                <a:spcPts val="600"/>
              </a:spcBef>
            </a:pPr>
            <a:r>
              <a:rPr lang="en-US" dirty="0"/>
              <a:t>Non-adjustable for insulation thickness or grip</a:t>
            </a:r>
          </a:p>
          <a:p>
            <a:pPr>
              <a:spcBef>
                <a:spcPts val="600"/>
              </a:spcBef>
            </a:pPr>
            <a:r>
              <a:rPr lang="en-US" dirty="0"/>
              <a:t>Blades non-replaceable</a:t>
            </a:r>
          </a:p>
          <a:p>
            <a:pPr>
              <a:spcBef>
                <a:spcPts val="600"/>
              </a:spcBef>
            </a:pPr>
            <a:r>
              <a:rPr lang="en-US" dirty="0"/>
              <a:t>Non-ergonomic</a:t>
            </a:r>
          </a:p>
        </p:txBody>
      </p:sp>
      <p:pic>
        <p:nvPicPr>
          <p:cNvPr id="13" name="Picture 12">
            <a:extLst>
              <a:ext uri="{FF2B5EF4-FFF2-40B4-BE49-F238E27FC236}">
                <a16:creationId xmlns:a16="http://schemas.microsoft.com/office/drawing/2014/main" id="{CD96EEA8-14DE-749F-BE58-78252208EB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6956090" y="1473006"/>
            <a:ext cx="2347509" cy="1704460"/>
          </a:xfrm>
          <a:prstGeom prst="rect">
            <a:avLst/>
          </a:prstGeom>
        </p:spPr>
      </p:pic>
      <p:pic>
        <p:nvPicPr>
          <p:cNvPr id="14" name="Picture 97" descr="KleinTools_Abisolier">
            <a:extLst>
              <a:ext uri="{FF2B5EF4-FFF2-40B4-BE49-F238E27FC236}">
                <a16:creationId xmlns:a16="http://schemas.microsoft.com/office/drawing/2014/main" id="{1A9680A2-86CB-48A3-A4D4-344711F3B57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86975" y="1086009"/>
            <a:ext cx="1219200" cy="2347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3">
            <a:extLst>
              <a:ext uri="{FF2B5EF4-FFF2-40B4-BE49-F238E27FC236}">
                <a16:creationId xmlns:a16="http://schemas.microsoft.com/office/drawing/2014/main" id="{3F6DDAC1-F654-139A-241C-BA81E86657AC}"/>
              </a:ext>
            </a:extLst>
          </p:cNvPr>
          <p:cNvSpPr txBox="1">
            <a:spLocks/>
          </p:cNvSpPr>
          <p:nvPr/>
        </p:nvSpPr>
        <p:spPr>
          <a:xfrm>
            <a:off x="8641263" y="1758277"/>
            <a:ext cx="1764155" cy="477961"/>
          </a:xfrm>
          <a:prstGeom prst="rect">
            <a:avLst/>
          </a:prstGeom>
        </p:spPr>
        <p:txBody>
          <a:bodyPr/>
          <a:lstStyle>
            <a:lvl1pPr marL="144000" indent="-144000" algn="l" rtl="0" eaLnBrk="1" fontAlgn="base" hangingPunct="1">
              <a:lnSpc>
                <a:spcPct val="100000"/>
              </a:lnSpc>
              <a:spcBef>
                <a:spcPts val="800"/>
              </a:spcBef>
              <a:spcAft>
                <a:spcPct val="0"/>
              </a:spcAft>
              <a:buClr>
                <a:schemeClr val="folHlink"/>
              </a:buClr>
              <a:buFont typeface="Wingdings" charset="2"/>
              <a:buChar char="§"/>
              <a:defRPr sz="1800" baseline="0">
                <a:solidFill>
                  <a:schemeClr val="tx1"/>
                </a:solidFill>
                <a:latin typeface="+mn-lt"/>
                <a:ea typeface="+mn-ea"/>
                <a:cs typeface="+mn-cs"/>
              </a:defRPr>
            </a:lvl1pPr>
            <a:lvl2pPr marL="360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2pPr>
            <a:lvl3pPr marL="576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3pPr>
            <a:lvl4pPr marL="792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4pPr>
            <a:lvl5pPr marL="1008000" indent="-144000" algn="l" rtl="0" eaLnBrk="1" fontAlgn="base" hangingPunct="1">
              <a:lnSpc>
                <a:spcPct val="100000"/>
              </a:lnSpc>
              <a:spcBef>
                <a:spcPts val="800"/>
              </a:spcBef>
              <a:spcAft>
                <a:spcPct val="0"/>
              </a:spcAft>
              <a:buClr>
                <a:schemeClr val="folHlink"/>
              </a:buClr>
              <a:buFont typeface="Wingdings" charset="2"/>
              <a:buChar char="§"/>
              <a:defRPr sz="1800">
                <a:solidFill>
                  <a:schemeClr val="tx1"/>
                </a:solidFill>
                <a:latin typeface="+mn-lt"/>
                <a:cs typeface="+mn-cs"/>
              </a:defRPr>
            </a:lvl5pPr>
            <a:lvl6pPr marL="1224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6pPr>
            <a:lvl7pPr marL="1440000" indent="-144000" algn="l" rtl="0" eaLnBrk="1" fontAlgn="base" hangingPunct="1">
              <a:spcBef>
                <a:spcPts val="800"/>
              </a:spcBef>
              <a:spcAft>
                <a:spcPct val="0"/>
              </a:spcAft>
              <a:buClr>
                <a:schemeClr val="folHlink"/>
              </a:buClr>
              <a:buFont typeface="Wingdings" charset="2"/>
              <a:buChar char="§"/>
              <a:defRPr sz="1800">
                <a:solidFill>
                  <a:schemeClr val="tx1"/>
                </a:solidFill>
                <a:latin typeface="+mn-lt"/>
                <a:cs typeface="+mn-cs"/>
              </a:defRPr>
            </a:lvl7pPr>
            <a:lvl8pPr marL="1512000" indent="0" algn="l" rtl="0" eaLnBrk="1" fontAlgn="base" hangingPunct="1">
              <a:spcBef>
                <a:spcPts val="900"/>
              </a:spcBef>
              <a:spcAft>
                <a:spcPct val="0"/>
              </a:spcAft>
              <a:buClr>
                <a:schemeClr val="folHlink"/>
              </a:buClr>
              <a:buFont typeface="Wingdings" charset="2"/>
              <a:buNone/>
              <a:defRPr sz="1800">
                <a:solidFill>
                  <a:schemeClr val="tx1"/>
                </a:solidFill>
                <a:latin typeface="+mn-lt"/>
                <a:cs typeface="+mn-cs"/>
              </a:defRPr>
            </a:lvl8pPr>
            <a:lvl9pPr marL="1872000" indent="-144000" algn="l" rtl="0" eaLnBrk="1" fontAlgn="base" hangingPunct="1">
              <a:spcBef>
                <a:spcPct val="20000"/>
              </a:spcBef>
              <a:spcAft>
                <a:spcPct val="0"/>
              </a:spcAft>
              <a:buClr>
                <a:schemeClr val="folHlink"/>
              </a:buClr>
              <a:buFont typeface="Wingdings" charset="2"/>
              <a:buChar char="§"/>
              <a:defRPr sz="1800">
                <a:solidFill>
                  <a:schemeClr val="tx1"/>
                </a:solidFill>
                <a:latin typeface="+mn-lt"/>
                <a:cs typeface="+mn-cs"/>
              </a:defRPr>
            </a:lvl9pPr>
          </a:lstStyle>
          <a:p>
            <a:pPr marL="0" indent="0">
              <a:buNone/>
            </a:pPr>
            <a:r>
              <a:rPr lang="en-US" b="1" dirty="0"/>
              <a:t>The others….</a:t>
            </a:r>
          </a:p>
        </p:txBody>
      </p:sp>
      <p:sp>
        <p:nvSpPr>
          <p:cNvPr id="4" name="Footer Placeholder 3">
            <a:extLst>
              <a:ext uri="{FF2B5EF4-FFF2-40B4-BE49-F238E27FC236}">
                <a16:creationId xmlns:a16="http://schemas.microsoft.com/office/drawing/2014/main" id="{08A42AC8-C586-8E82-4FF9-E7639A824F64}"/>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189906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TOOLFOX</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Introduction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descr="A picture containing person, posing&#10;&#10;Description automatically generated">
            <a:extLst>
              <a:ext uri="{FF2B5EF4-FFF2-40B4-BE49-F238E27FC236}">
                <a16:creationId xmlns:a16="http://schemas.microsoft.com/office/drawing/2014/main" id="{B0F39C43-61CC-E15D-9A50-ADC696E848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0636" y="1294833"/>
            <a:ext cx="4255516" cy="3586109"/>
          </a:xfrm>
          <a:prstGeom prst="rect">
            <a:avLst/>
          </a:prstGeom>
        </p:spPr>
      </p:pic>
      <p:pic>
        <p:nvPicPr>
          <p:cNvPr id="13" name="Picture 12" descr="A person wearing a suit and tie&#10;&#10;Description automatically generated with medium confidence">
            <a:extLst>
              <a:ext uri="{FF2B5EF4-FFF2-40B4-BE49-F238E27FC236}">
                <a16:creationId xmlns:a16="http://schemas.microsoft.com/office/drawing/2014/main" id="{EB639FDB-4BAA-E547-AD23-1A1FBCE40D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2245" y="1338874"/>
            <a:ext cx="2332019" cy="3498029"/>
          </a:xfrm>
          <a:prstGeom prst="rect">
            <a:avLst/>
          </a:prstGeom>
        </p:spPr>
      </p:pic>
      <p:sp>
        <p:nvSpPr>
          <p:cNvPr id="14" name="Rectangle 13">
            <a:extLst>
              <a:ext uri="{FF2B5EF4-FFF2-40B4-BE49-F238E27FC236}">
                <a16:creationId xmlns:a16="http://schemas.microsoft.com/office/drawing/2014/main" id="{C1E4311B-6F32-A1B9-E439-DAF582D91A58}"/>
              </a:ext>
            </a:extLst>
          </p:cNvPr>
          <p:cNvSpPr/>
          <p:nvPr/>
        </p:nvSpPr>
        <p:spPr>
          <a:xfrm>
            <a:off x="1858618" y="4953154"/>
            <a:ext cx="3657600" cy="661514"/>
          </a:xfrm>
          <a:prstGeom prst="rect">
            <a:avLst/>
          </a:prstGeom>
        </p:spPr>
        <p:txBody>
          <a:bodyPr wrap="square" lIns="45708" tIns="22853" rIns="45708" bIns="22853">
            <a:spAutoFit/>
          </a:bodyPr>
          <a:lstStyle/>
          <a:p>
            <a:pPr algn="ctr"/>
            <a:r>
              <a:rPr lang="en-US" sz="1333" b="1" dirty="0"/>
              <a:t>Maria Schierscher</a:t>
            </a:r>
          </a:p>
          <a:p>
            <a:pPr algn="ctr"/>
            <a:r>
              <a:rPr lang="en-US" sz="1333" dirty="0"/>
              <a:t>Associate Product Marketing Manager</a:t>
            </a:r>
          </a:p>
          <a:p>
            <a:pPr algn="ctr"/>
            <a:r>
              <a:rPr lang="en-US" sz="1333" dirty="0">
                <a:hlinkClick r:id="rId5"/>
              </a:rPr>
              <a:t>mschierscher@phoenixcontact.com</a:t>
            </a:r>
            <a:r>
              <a:rPr lang="en-US" sz="1333" dirty="0"/>
              <a:t> </a:t>
            </a:r>
          </a:p>
        </p:txBody>
      </p:sp>
      <p:sp>
        <p:nvSpPr>
          <p:cNvPr id="15" name="Rectangle 14">
            <a:extLst>
              <a:ext uri="{FF2B5EF4-FFF2-40B4-BE49-F238E27FC236}">
                <a16:creationId xmlns:a16="http://schemas.microsoft.com/office/drawing/2014/main" id="{3D68F5DC-DE44-56AA-D8BE-EAF2A67F8D74}"/>
              </a:ext>
            </a:extLst>
          </p:cNvPr>
          <p:cNvSpPr/>
          <p:nvPr/>
        </p:nvSpPr>
        <p:spPr>
          <a:xfrm>
            <a:off x="7245228" y="4953154"/>
            <a:ext cx="3657600" cy="866633"/>
          </a:xfrm>
          <a:prstGeom prst="rect">
            <a:avLst/>
          </a:prstGeom>
        </p:spPr>
        <p:txBody>
          <a:bodyPr wrap="square" lIns="45708" tIns="22853" rIns="45708" bIns="22853">
            <a:spAutoFit/>
          </a:bodyPr>
          <a:lstStyle/>
          <a:p>
            <a:pPr algn="ctr"/>
            <a:r>
              <a:rPr lang="en-US" sz="1333" b="1" dirty="0"/>
              <a:t>Matt Schwartz</a:t>
            </a:r>
          </a:p>
          <a:p>
            <a:pPr algn="ctr"/>
            <a:r>
              <a:rPr lang="en-US" sz="1333" dirty="0"/>
              <a:t>Product Marketing Specialist</a:t>
            </a:r>
          </a:p>
          <a:p>
            <a:pPr algn="ctr"/>
            <a:r>
              <a:rPr lang="en-US" sz="1333" dirty="0">
                <a:hlinkClick r:id="rId6"/>
              </a:rPr>
              <a:t>mschwartz@phoenixcontact.com</a:t>
            </a:r>
            <a:br>
              <a:rPr lang="en-US" sz="1333" dirty="0"/>
            </a:br>
            <a:endParaRPr lang="en-US" sz="1333" dirty="0"/>
          </a:p>
        </p:txBody>
      </p:sp>
      <p:sp>
        <p:nvSpPr>
          <p:cNvPr id="16" name="Footer Placeholder 15">
            <a:extLst>
              <a:ext uri="{FF2B5EF4-FFF2-40B4-BE49-F238E27FC236}">
                <a16:creationId xmlns:a16="http://schemas.microsoft.com/office/drawing/2014/main" id="{4ADAF29E-4CC9-F0D8-147A-A411FD10C81D}"/>
              </a:ext>
            </a:extLst>
          </p:cNvPr>
          <p:cNvSpPr>
            <a:spLocks noGrp="1"/>
          </p:cNvSpPr>
          <p:nvPr>
            <p:ph type="ftr" sz="quarter" idx="17"/>
          </p:nvPr>
        </p:nvSpPr>
        <p:spPr/>
        <p:txBody>
          <a:bodyPr/>
          <a:lstStyle/>
          <a:p>
            <a:r>
              <a:rPr lang="en-US"/>
              <a:t>Updated January 2023</a:t>
            </a:r>
            <a:endParaRPr lang="de-DE" dirty="0"/>
          </a:p>
        </p:txBody>
      </p:sp>
      <p:sp>
        <p:nvSpPr>
          <p:cNvPr id="17" name="Flowchart: Connector 16">
            <a:extLst>
              <a:ext uri="{FF2B5EF4-FFF2-40B4-BE49-F238E27FC236}">
                <a16:creationId xmlns:a16="http://schemas.microsoft.com/office/drawing/2014/main" id="{55152028-5635-DA8D-C34D-801E46D2B2AA}"/>
              </a:ext>
            </a:extLst>
          </p:cNvPr>
          <p:cNvSpPr/>
          <p:nvPr/>
        </p:nvSpPr>
        <p:spPr>
          <a:xfrm>
            <a:off x="9340841" y="-1215168"/>
            <a:ext cx="3540307" cy="3196063"/>
          </a:xfrm>
          <a:prstGeom prst="flowChartConnector">
            <a:avLst/>
          </a:prstGeom>
          <a:solidFill>
            <a:srgbClr val="009AA3">
              <a:alpha val="2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p>
        </p:txBody>
      </p:sp>
      <p:pic>
        <p:nvPicPr>
          <p:cNvPr id="18" name="Picture 17">
            <a:extLst>
              <a:ext uri="{FF2B5EF4-FFF2-40B4-BE49-F238E27FC236}">
                <a16:creationId xmlns:a16="http://schemas.microsoft.com/office/drawing/2014/main" id="{97341E8B-4C62-DC10-A2B8-DACA086AC7A7}"/>
              </a:ext>
            </a:extLst>
          </p:cNvPr>
          <p:cNvPicPr>
            <a:picLocks noChangeAspect="1"/>
          </p:cNvPicPr>
          <p:nvPr/>
        </p:nvPicPr>
        <p:blipFill>
          <a:blip r:embed="rId7"/>
          <a:stretch>
            <a:fillRect/>
          </a:stretch>
        </p:blipFill>
        <p:spPr>
          <a:xfrm>
            <a:off x="11438987" y="480402"/>
            <a:ext cx="3542083" cy="3194581"/>
          </a:xfrm>
          <a:prstGeom prst="rect">
            <a:avLst/>
          </a:prstGeom>
        </p:spPr>
      </p:pic>
      <p:sp>
        <p:nvSpPr>
          <p:cNvPr id="20" name="Flowchart: Connector 19">
            <a:extLst>
              <a:ext uri="{FF2B5EF4-FFF2-40B4-BE49-F238E27FC236}">
                <a16:creationId xmlns:a16="http://schemas.microsoft.com/office/drawing/2014/main" id="{C3D6B4DB-CE80-21C3-DC37-433A50867A27}"/>
              </a:ext>
            </a:extLst>
          </p:cNvPr>
          <p:cNvSpPr/>
          <p:nvPr/>
        </p:nvSpPr>
        <p:spPr>
          <a:xfrm>
            <a:off x="-1783480" y="3297601"/>
            <a:ext cx="2965725" cy="3078603"/>
          </a:xfrm>
          <a:prstGeom prst="flowChartConnector">
            <a:avLst/>
          </a:prstGeom>
          <a:solidFill>
            <a:srgbClr val="94C11C">
              <a:alpha val="20000"/>
            </a:srgb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p>
        </p:txBody>
      </p:sp>
    </p:spTree>
    <p:extLst>
      <p:ext uri="{BB962C8B-B14F-4D97-AF65-F5344CB8AC3E}">
        <p14:creationId xmlns:p14="http://schemas.microsoft.com/office/powerpoint/2010/main" val="334304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Special Insulation Stripp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0</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90AB8647-939C-C2EA-3378-D65550B86EC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634" t="13065" r="-7814" b="105"/>
          <a:stretch/>
        </p:blipFill>
        <p:spPr bwMode="auto">
          <a:xfrm>
            <a:off x="0" y="1834817"/>
            <a:ext cx="2524962" cy="21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3D7190CB-7ADE-1972-7DE9-839BC7E939B2}"/>
              </a:ext>
            </a:extLst>
          </p:cNvPr>
          <p:cNvPicPr>
            <a:picLocks noChangeAspect="1"/>
          </p:cNvPicPr>
          <p:nvPr/>
        </p:nvPicPr>
        <p:blipFill rotWithShape="1">
          <a:blip r:embed="rId4">
            <a:extLst>
              <a:ext uri="{28A0092B-C50C-407E-A947-70E740481C1C}">
                <a14:useLocalDpi xmlns:a14="http://schemas.microsoft.com/office/drawing/2010/main" val="0"/>
              </a:ext>
            </a:extLst>
          </a:blip>
          <a:srcRect t="13956" b="13956"/>
          <a:stretch/>
        </p:blipFill>
        <p:spPr bwMode="auto">
          <a:xfrm>
            <a:off x="2857500" y="1524480"/>
            <a:ext cx="2371725" cy="2111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8AA1429C-E962-0E19-4AE0-C02D298F4D3F}"/>
              </a:ext>
            </a:extLst>
          </p:cNvPr>
          <p:cNvPicPr>
            <a:picLocks noChangeAspect="1"/>
          </p:cNvPicPr>
          <p:nvPr/>
        </p:nvPicPr>
        <p:blipFill rotWithShape="1">
          <a:blip r:embed="rId5">
            <a:extLst>
              <a:ext uri="{28A0092B-C50C-407E-A947-70E740481C1C}">
                <a14:useLocalDpi xmlns:a14="http://schemas.microsoft.com/office/drawing/2010/main" val="0"/>
              </a:ext>
            </a:extLst>
          </a:blip>
          <a:srcRect t="13956" b="13956"/>
          <a:stretch/>
        </p:blipFill>
        <p:spPr bwMode="auto">
          <a:xfrm>
            <a:off x="5366402" y="1751543"/>
            <a:ext cx="2453623" cy="215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A close-up of a pen&#10;&#10;Description automatically generated with low confidence">
            <a:extLst>
              <a:ext uri="{FF2B5EF4-FFF2-40B4-BE49-F238E27FC236}">
                <a16:creationId xmlns:a16="http://schemas.microsoft.com/office/drawing/2014/main" id="{4157F49B-FB25-B3EC-F5CA-4FA33FCD9D9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1961" y="1224879"/>
            <a:ext cx="2875074" cy="2766125"/>
          </a:xfrm>
          <a:prstGeom prst="rect">
            <a:avLst/>
          </a:prstGeom>
        </p:spPr>
      </p:pic>
      <p:pic>
        <p:nvPicPr>
          <p:cNvPr id="12" name="Picture 1">
            <a:extLst>
              <a:ext uri="{FF2B5EF4-FFF2-40B4-BE49-F238E27FC236}">
                <a16:creationId xmlns:a16="http://schemas.microsoft.com/office/drawing/2014/main" id="{BDBE8DAE-56B2-AF47-1540-C2206107D29D}"/>
              </a:ext>
            </a:extLst>
          </p:cNvPr>
          <p:cNvPicPr>
            <a:picLocks noChangeAspect="1"/>
          </p:cNvPicPr>
          <p:nvPr/>
        </p:nvPicPr>
        <p:blipFill rotWithShape="1">
          <a:blip r:embed="rId7">
            <a:extLst>
              <a:ext uri="{28A0092B-C50C-407E-A947-70E740481C1C}">
                <a14:useLocalDpi xmlns:a14="http://schemas.microsoft.com/office/drawing/2010/main" val="0"/>
              </a:ext>
            </a:extLst>
          </a:blip>
          <a:srcRect t="13956" b="13956"/>
          <a:stretch/>
        </p:blipFill>
        <p:spPr bwMode="auto">
          <a:xfrm>
            <a:off x="9538619" y="1528150"/>
            <a:ext cx="2636655" cy="2254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7">
            <a:extLst>
              <a:ext uri="{FF2B5EF4-FFF2-40B4-BE49-F238E27FC236}">
                <a16:creationId xmlns:a16="http://schemas.microsoft.com/office/drawing/2014/main" id="{7B4D94F7-E73B-748B-3C38-256996D14629}"/>
              </a:ext>
            </a:extLst>
          </p:cNvPr>
          <p:cNvSpPr txBox="1">
            <a:spLocks/>
          </p:cNvSpPr>
          <p:nvPr/>
        </p:nvSpPr>
        <p:spPr>
          <a:xfrm>
            <a:off x="8200" y="4313467"/>
            <a:ext cx="3091122" cy="156369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16-1  1212157</a:t>
            </a:r>
          </a:p>
          <a:p>
            <a:pPr marL="0" indent="0" algn="ctr">
              <a:buNone/>
            </a:pPr>
            <a:r>
              <a:rPr lang="en-US" dirty="0"/>
              <a:t>WIREFOX SAC  1212623</a:t>
            </a:r>
          </a:p>
          <a:p>
            <a:pPr marL="0" indent="0" algn="ctr">
              <a:buNone/>
            </a:pPr>
            <a:r>
              <a:rPr lang="en-US" dirty="0"/>
              <a:t>WIREFOX SAC-1  1212757</a:t>
            </a:r>
          </a:p>
          <a:p>
            <a:pPr marL="0" indent="0" algn="ctr">
              <a:buNone/>
            </a:pPr>
            <a:r>
              <a:rPr lang="en-US" sz="1400" dirty="0"/>
              <a:t>Sensor/Actuator Cable stripper</a:t>
            </a:r>
          </a:p>
          <a:p>
            <a:pPr marL="0" indent="0" algn="ctr">
              <a:buNone/>
            </a:pPr>
            <a:endParaRPr lang="en-US" dirty="0"/>
          </a:p>
        </p:txBody>
      </p:sp>
      <p:sp>
        <p:nvSpPr>
          <p:cNvPr id="14" name="Text Placeholder 7">
            <a:extLst>
              <a:ext uri="{FF2B5EF4-FFF2-40B4-BE49-F238E27FC236}">
                <a16:creationId xmlns:a16="http://schemas.microsoft.com/office/drawing/2014/main" id="{DE51C05B-E5E7-00EB-285A-6CE93F6A1E5F}"/>
              </a:ext>
            </a:extLst>
          </p:cNvPr>
          <p:cNvSpPr txBox="1">
            <a:spLocks/>
          </p:cNvSpPr>
          <p:nvPr/>
        </p:nvSpPr>
        <p:spPr>
          <a:xfrm>
            <a:off x="3168951" y="3896289"/>
            <a:ext cx="1908174" cy="2494644"/>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ASI 1212154</a:t>
            </a:r>
          </a:p>
          <a:p>
            <a:pPr marL="0" indent="0" algn="ctr">
              <a:buNone/>
            </a:pPr>
            <a:r>
              <a:rPr lang="de-DE" sz="1400" dirty="0"/>
              <a:t>For AS-Interface Flat-ribbon Conductors</a:t>
            </a:r>
          </a:p>
          <a:p>
            <a:pPr marL="0" indent="0" algn="ctr">
              <a:buNone/>
            </a:pPr>
            <a:r>
              <a:rPr lang="en-US" sz="1800" dirty="0"/>
              <a:t>WIREFOX – FC 1212154</a:t>
            </a:r>
          </a:p>
          <a:p>
            <a:pPr marL="0" indent="0" algn="ctr">
              <a:buNone/>
            </a:pPr>
            <a:r>
              <a:rPr lang="de-DE" sz="1400" dirty="0"/>
              <a:t>For Flat-ribbon Conductors</a:t>
            </a:r>
            <a:endParaRPr lang="en-US" sz="1400" dirty="0"/>
          </a:p>
          <a:p>
            <a:pPr marL="0" indent="0" algn="ctr">
              <a:buNone/>
            </a:pPr>
            <a:endParaRPr lang="en-US" sz="1400" dirty="0"/>
          </a:p>
          <a:p>
            <a:pPr marL="0" indent="0" algn="ctr">
              <a:buNone/>
            </a:pPr>
            <a:endParaRPr lang="en-US" dirty="0"/>
          </a:p>
        </p:txBody>
      </p:sp>
      <p:sp>
        <p:nvSpPr>
          <p:cNvPr id="15" name="Text Placeholder 5">
            <a:extLst>
              <a:ext uri="{FF2B5EF4-FFF2-40B4-BE49-F238E27FC236}">
                <a16:creationId xmlns:a16="http://schemas.microsoft.com/office/drawing/2014/main" id="{51F361AD-2185-B569-2E5A-9077DFB7A11F}"/>
              </a:ext>
            </a:extLst>
          </p:cNvPr>
          <p:cNvSpPr txBox="1">
            <a:spLocks/>
          </p:cNvSpPr>
          <p:nvPr/>
        </p:nvSpPr>
        <p:spPr>
          <a:xfrm>
            <a:off x="5564550" y="4148271"/>
            <a:ext cx="1908174" cy="170007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SHIELD 1212172</a:t>
            </a:r>
          </a:p>
          <a:p>
            <a:pPr marL="0" indent="0" algn="ctr">
              <a:buNone/>
            </a:pPr>
            <a:r>
              <a:rPr lang="en-US" sz="1400" dirty="0"/>
              <a:t>For Cable Cutouts and Shield Connections</a:t>
            </a:r>
          </a:p>
          <a:p>
            <a:pPr marL="0" indent="0" algn="ctr">
              <a:buNone/>
            </a:pPr>
            <a:endParaRPr lang="en-US" dirty="0"/>
          </a:p>
        </p:txBody>
      </p:sp>
      <p:sp>
        <p:nvSpPr>
          <p:cNvPr id="16" name="Text Placeholder 5">
            <a:extLst>
              <a:ext uri="{FF2B5EF4-FFF2-40B4-BE49-F238E27FC236}">
                <a16:creationId xmlns:a16="http://schemas.microsoft.com/office/drawing/2014/main" id="{933F6492-9D8E-C8B8-1256-27C10A014850}"/>
              </a:ext>
            </a:extLst>
          </p:cNvPr>
          <p:cNvSpPr txBox="1">
            <a:spLocks/>
          </p:cNvSpPr>
          <p:nvPr/>
        </p:nvSpPr>
        <p:spPr>
          <a:xfrm>
            <a:off x="7715977" y="3995901"/>
            <a:ext cx="1908174" cy="146195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MP VDE 1212528</a:t>
            </a:r>
          </a:p>
          <a:p>
            <a:pPr marL="0" indent="0" algn="ctr">
              <a:buNone/>
            </a:pPr>
            <a:r>
              <a:rPr lang="en-US" sz="1400" dirty="0"/>
              <a:t>For Cable Cutouts and Shield Connections</a:t>
            </a:r>
          </a:p>
          <a:p>
            <a:pPr marL="0" indent="0" algn="ctr">
              <a:buNone/>
            </a:pPr>
            <a:endParaRPr lang="en-US" dirty="0"/>
          </a:p>
        </p:txBody>
      </p:sp>
      <p:sp>
        <p:nvSpPr>
          <p:cNvPr id="17" name="Text Placeholder 3">
            <a:extLst>
              <a:ext uri="{FF2B5EF4-FFF2-40B4-BE49-F238E27FC236}">
                <a16:creationId xmlns:a16="http://schemas.microsoft.com/office/drawing/2014/main" id="{3F8B370E-167B-8946-F874-05FAAA3B823E}"/>
              </a:ext>
            </a:extLst>
          </p:cNvPr>
          <p:cNvSpPr txBox="1">
            <a:spLocks/>
          </p:cNvSpPr>
          <p:nvPr/>
        </p:nvSpPr>
        <p:spPr>
          <a:xfrm>
            <a:off x="9744500" y="4367345"/>
            <a:ext cx="2278403" cy="146195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10 VDE 1212366</a:t>
            </a:r>
          </a:p>
          <a:p>
            <a:pPr marL="0" indent="0" algn="ctr">
              <a:buNone/>
            </a:pPr>
            <a:r>
              <a:rPr lang="en-US" sz="1400" dirty="0"/>
              <a:t>For stripping conductors with a cross section of up to 8 AWG</a:t>
            </a:r>
          </a:p>
        </p:txBody>
      </p:sp>
      <p:sp>
        <p:nvSpPr>
          <p:cNvPr id="4" name="Footer Placeholder 3">
            <a:extLst>
              <a:ext uri="{FF2B5EF4-FFF2-40B4-BE49-F238E27FC236}">
                <a16:creationId xmlns:a16="http://schemas.microsoft.com/office/drawing/2014/main" id="{EB11F08A-50E2-8E5B-6EC2-6B7130BE32E0}"/>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49438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Multiconductor and Large Diameter Insulation </a:t>
            </a:r>
            <a:br>
              <a:rPr lang="en-GB" dirty="0"/>
            </a:br>
            <a:r>
              <a:rPr lang="en-GB" dirty="0"/>
              <a:t>		Stripp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1</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A36746FD-B452-EDEA-B77F-C13958E31E67}"/>
              </a:ext>
            </a:extLst>
          </p:cNvPr>
          <p:cNvPicPr>
            <a:picLocks noChangeAspect="1"/>
          </p:cNvPicPr>
          <p:nvPr/>
        </p:nvPicPr>
        <p:blipFill rotWithShape="1">
          <a:blip r:embed="rId3">
            <a:extLst>
              <a:ext uri="{28A0092B-C50C-407E-A947-70E740481C1C}">
                <a14:useLocalDpi xmlns:a14="http://schemas.microsoft.com/office/drawing/2010/main" val="0"/>
              </a:ext>
            </a:extLst>
          </a:blip>
          <a:srcRect t="11439" b="1651"/>
          <a:stretch/>
        </p:blipFill>
        <p:spPr bwMode="auto">
          <a:xfrm>
            <a:off x="255759" y="1870740"/>
            <a:ext cx="2391068" cy="217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453E7E8D-FC93-B092-FEAE-7B58A55D6EE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178" t="8641" r="-11278" b="920"/>
          <a:stretch/>
        </p:blipFill>
        <p:spPr bwMode="auto">
          <a:xfrm>
            <a:off x="2394373" y="1818580"/>
            <a:ext cx="2738124" cy="206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B7C03A7B-D4F6-C96E-73BA-B921BB3D524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169" t="9041" r="-10654" b="976"/>
          <a:stretch/>
        </p:blipFill>
        <p:spPr bwMode="auto">
          <a:xfrm>
            <a:off x="4915226" y="1948952"/>
            <a:ext cx="2092388" cy="15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
            <a:extLst>
              <a:ext uri="{FF2B5EF4-FFF2-40B4-BE49-F238E27FC236}">
                <a16:creationId xmlns:a16="http://schemas.microsoft.com/office/drawing/2014/main" id="{8909D1A3-3140-3902-67DE-0B4BE67BB30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861" t="9060" r="-14324" b="-25"/>
          <a:stretch/>
        </p:blipFill>
        <p:spPr bwMode="auto">
          <a:xfrm>
            <a:off x="7602807" y="2098423"/>
            <a:ext cx="2092388" cy="157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6">
            <a:extLst>
              <a:ext uri="{FF2B5EF4-FFF2-40B4-BE49-F238E27FC236}">
                <a16:creationId xmlns:a16="http://schemas.microsoft.com/office/drawing/2014/main" id="{E27627E0-F68B-E467-CFF3-A477C551BD6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910" t="9132" r="-14177" b="-28"/>
          <a:stretch/>
        </p:blipFill>
        <p:spPr bwMode="auto">
          <a:xfrm>
            <a:off x="9800932" y="1802705"/>
            <a:ext cx="2391068" cy="1804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3">
            <a:extLst>
              <a:ext uri="{FF2B5EF4-FFF2-40B4-BE49-F238E27FC236}">
                <a16:creationId xmlns:a16="http://schemas.microsoft.com/office/drawing/2014/main" id="{95085E5B-66FA-498A-C28F-6A4B33260FA7}"/>
              </a:ext>
            </a:extLst>
          </p:cNvPr>
          <p:cNvSpPr txBox="1">
            <a:spLocks/>
          </p:cNvSpPr>
          <p:nvPr/>
        </p:nvSpPr>
        <p:spPr>
          <a:xfrm>
            <a:off x="168439" y="4334218"/>
            <a:ext cx="2088861" cy="184360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40</a:t>
            </a:r>
          </a:p>
          <a:p>
            <a:pPr marL="0" indent="0" algn="ctr">
              <a:buNone/>
            </a:pPr>
            <a:r>
              <a:rPr lang="en-US" dirty="0"/>
              <a:t>1212161</a:t>
            </a:r>
          </a:p>
          <a:p>
            <a:pPr marL="0" indent="0" algn="ctr">
              <a:buNone/>
            </a:pPr>
            <a:r>
              <a:rPr lang="en-US" sz="1400" dirty="0"/>
              <a:t>Stripping tool, for stripping installation lines of 4.5 – 40 mm</a:t>
            </a:r>
          </a:p>
        </p:txBody>
      </p:sp>
      <p:sp>
        <p:nvSpPr>
          <p:cNvPr id="14" name="Text Placeholder 3">
            <a:extLst>
              <a:ext uri="{FF2B5EF4-FFF2-40B4-BE49-F238E27FC236}">
                <a16:creationId xmlns:a16="http://schemas.microsoft.com/office/drawing/2014/main" id="{F38A22C8-F3B5-5FC1-9518-E0E9AC6B9C6E}"/>
              </a:ext>
            </a:extLst>
          </p:cNvPr>
          <p:cNvSpPr txBox="1">
            <a:spLocks/>
          </p:cNvSpPr>
          <p:nvPr/>
        </p:nvSpPr>
        <p:spPr>
          <a:xfrm>
            <a:off x="2495927" y="4289121"/>
            <a:ext cx="2088861" cy="144683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13</a:t>
            </a:r>
          </a:p>
          <a:p>
            <a:pPr marL="0" indent="0" algn="ctr">
              <a:buNone/>
            </a:pPr>
            <a:r>
              <a:rPr lang="en-US" dirty="0"/>
              <a:t>1212162</a:t>
            </a:r>
          </a:p>
          <a:p>
            <a:pPr marL="0" indent="0" algn="ctr">
              <a:buNone/>
            </a:pPr>
            <a:r>
              <a:rPr lang="en-US" sz="1400" dirty="0"/>
              <a:t>Stripping tool, for stripping installation lines of Ø 8 - 13 mm </a:t>
            </a:r>
          </a:p>
        </p:txBody>
      </p:sp>
      <p:sp>
        <p:nvSpPr>
          <p:cNvPr id="15" name="Text Placeholder 7">
            <a:extLst>
              <a:ext uri="{FF2B5EF4-FFF2-40B4-BE49-F238E27FC236}">
                <a16:creationId xmlns:a16="http://schemas.microsoft.com/office/drawing/2014/main" id="{DD3D7BA1-D491-7F93-070C-B9B967A05E5E}"/>
              </a:ext>
            </a:extLst>
          </p:cNvPr>
          <p:cNvSpPr txBox="1">
            <a:spLocks/>
          </p:cNvSpPr>
          <p:nvPr/>
        </p:nvSpPr>
        <p:spPr>
          <a:xfrm>
            <a:off x="4598878" y="3568947"/>
            <a:ext cx="3080277" cy="2429594"/>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SR 6</a:t>
            </a:r>
          </a:p>
          <a:p>
            <a:pPr marL="0" indent="0" algn="ctr">
              <a:buNone/>
            </a:pPr>
            <a:r>
              <a:rPr lang="en-US" dirty="0"/>
              <a:t>1212507</a:t>
            </a:r>
          </a:p>
          <a:p>
            <a:pPr marL="0" indent="0" algn="ctr">
              <a:buNone/>
            </a:pPr>
            <a:r>
              <a:rPr lang="en-US" dirty="0"/>
              <a:t>WIREFOX – D SR 6-1 </a:t>
            </a:r>
          </a:p>
          <a:p>
            <a:pPr marL="0" indent="0" algn="ctr">
              <a:buNone/>
            </a:pPr>
            <a:r>
              <a:rPr lang="en-US" dirty="0"/>
              <a:t>1212511</a:t>
            </a:r>
          </a:p>
          <a:p>
            <a:pPr marL="0" indent="0" algn="ctr">
              <a:buNone/>
            </a:pPr>
            <a:r>
              <a:rPr lang="en-US" sz="1400" dirty="0"/>
              <a:t>Stripping tool, for 2.5 - 6 mm² solar cables, 8.5 mm or 15 mm stripping length</a:t>
            </a:r>
          </a:p>
        </p:txBody>
      </p:sp>
      <p:sp>
        <p:nvSpPr>
          <p:cNvPr id="16" name="Text Placeholder 5">
            <a:extLst>
              <a:ext uri="{FF2B5EF4-FFF2-40B4-BE49-F238E27FC236}">
                <a16:creationId xmlns:a16="http://schemas.microsoft.com/office/drawing/2014/main" id="{08D589EC-5404-2D5E-7E83-C15470B9802B}"/>
              </a:ext>
            </a:extLst>
          </p:cNvPr>
          <p:cNvSpPr txBox="1">
            <a:spLocks/>
          </p:cNvSpPr>
          <p:nvPr/>
        </p:nvSpPr>
        <p:spPr>
          <a:xfrm>
            <a:off x="7650933" y="4270385"/>
            <a:ext cx="2391068" cy="188846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11</a:t>
            </a:r>
          </a:p>
          <a:p>
            <a:pPr marL="0" indent="0" algn="ctr">
              <a:buNone/>
            </a:pPr>
            <a:r>
              <a:rPr lang="en-US" dirty="0"/>
              <a:t>1212160</a:t>
            </a:r>
          </a:p>
          <a:p>
            <a:pPr marL="0" indent="0" algn="ctr">
              <a:buNone/>
            </a:pPr>
            <a:r>
              <a:rPr lang="en-US" sz="1400" dirty="0"/>
              <a:t>Stripping tool, for stripping multicore signal, control and fiberglass wires of Ø 2.5 - 11 mm</a:t>
            </a:r>
          </a:p>
        </p:txBody>
      </p:sp>
      <p:sp>
        <p:nvSpPr>
          <p:cNvPr id="18" name="Text Placeholder 9">
            <a:extLst>
              <a:ext uri="{FF2B5EF4-FFF2-40B4-BE49-F238E27FC236}">
                <a16:creationId xmlns:a16="http://schemas.microsoft.com/office/drawing/2014/main" id="{5CDCFD94-CB59-F994-1BDE-041437E5A97C}"/>
              </a:ext>
            </a:extLst>
          </p:cNvPr>
          <p:cNvSpPr txBox="1">
            <a:spLocks/>
          </p:cNvSpPr>
          <p:nvPr/>
        </p:nvSpPr>
        <p:spPr>
          <a:xfrm>
            <a:off x="10042378" y="4240122"/>
            <a:ext cx="2088861" cy="188846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WIREFOX – D 16</a:t>
            </a:r>
          </a:p>
          <a:p>
            <a:pPr marL="0" indent="0" algn="ctr">
              <a:buNone/>
            </a:pPr>
            <a:r>
              <a:rPr lang="en-US" dirty="0"/>
              <a:t>1212173</a:t>
            </a:r>
          </a:p>
          <a:p>
            <a:pPr marL="0" indent="0" algn="ctr">
              <a:buNone/>
            </a:pPr>
            <a:r>
              <a:rPr lang="en-US" sz="1400" dirty="0"/>
              <a:t>Stripping tool, for stripping lines (specially for fiber optics lines) of Ø 4 - 16 mm</a:t>
            </a:r>
          </a:p>
        </p:txBody>
      </p:sp>
      <p:sp>
        <p:nvSpPr>
          <p:cNvPr id="4" name="Footer Placeholder 3">
            <a:extLst>
              <a:ext uri="{FF2B5EF4-FFF2-40B4-BE49-F238E27FC236}">
                <a16:creationId xmlns:a16="http://schemas.microsoft.com/office/drawing/2014/main" id="{E2E07F88-A6C3-8209-AC7F-18902A3B2110}"/>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09610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WIREFOX D40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8620E2F2-DBF1-6B8A-628F-6B06393A5FDE}"/>
              </a:ext>
            </a:extLst>
          </p:cNvPr>
          <p:cNvPicPr>
            <a:picLocks noChangeAspect="1"/>
          </p:cNvPicPr>
          <p:nvPr/>
        </p:nvPicPr>
        <p:blipFill rotWithShape="1">
          <a:blip r:embed="rId3">
            <a:extLst>
              <a:ext uri="{28A0092B-C50C-407E-A947-70E740481C1C}">
                <a14:useLocalDpi xmlns:a14="http://schemas.microsoft.com/office/drawing/2010/main" val="0"/>
              </a:ext>
            </a:extLst>
          </a:blip>
          <a:srcRect t="11439" b="1651"/>
          <a:stretch/>
        </p:blipFill>
        <p:spPr bwMode="auto">
          <a:xfrm>
            <a:off x="7494391" y="1801503"/>
            <a:ext cx="4369660" cy="397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75898F6A-4FC2-58A4-D6E1-448A6E4361E1}"/>
              </a:ext>
            </a:extLst>
          </p:cNvPr>
          <p:cNvSpPr txBox="1"/>
          <p:nvPr/>
        </p:nvSpPr>
        <p:spPr>
          <a:xfrm>
            <a:off x="498521" y="2152031"/>
            <a:ext cx="6299522" cy="2308324"/>
          </a:xfrm>
          <a:prstGeom prst="rect">
            <a:avLst/>
          </a:prstGeom>
          <a:noFill/>
        </p:spPr>
        <p:txBody>
          <a:bodyPr wrap="square" rtlCol="0">
            <a:spAutoFit/>
          </a:bodyPr>
          <a:lstStyle/>
          <a:p>
            <a:pPr marL="342900" indent="-342900">
              <a:buClr>
                <a:srgbClr val="009999"/>
              </a:buClr>
              <a:buFont typeface="Wingdings" pitchFamily="2" charset="2"/>
              <a:buChar char="§"/>
            </a:pPr>
            <a:r>
              <a:rPr lang="en-US" sz="1800" dirty="0"/>
              <a:t>Interchangeable cable guide allows for large capacity (40mm/1.57”) diameter</a:t>
            </a:r>
          </a:p>
          <a:p>
            <a:pPr marL="342900" indent="-342900">
              <a:buClr>
                <a:srgbClr val="009999"/>
              </a:buClr>
              <a:buFont typeface="Wingdings" pitchFamily="2" charset="2"/>
              <a:buChar char="§"/>
            </a:pPr>
            <a:r>
              <a:rPr lang="en-US" sz="1800" dirty="0"/>
              <a:t>Locking positions for circular, lengthways and spiral cuts </a:t>
            </a:r>
          </a:p>
          <a:p>
            <a:pPr marL="342900" indent="-342900">
              <a:buClr>
                <a:srgbClr val="009999"/>
              </a:buClr>
              <a:buFont typeface="Wingdings" pitchFamily="2" charset="2"/>
              <a:buChar char="§"/>
            </a:pPr>
            <a:r>
              <a:rPr lang="en-US" sz="1800" dirty="0"/>
              <a:t>Easy to use</a:t>
            </a:r>
          </a:p>
          <a:p>
            <a:pPr marL="342900" indent="-342900">
              <a:buClr>
                <a:srgbClr val="009999"/>
              </a:buClr>
              <a:buFont typeface="Wingdings" pitchFamily="2" charset="2"/>
              <a:buChar char="§"/>
            </a:pPr>
            <a:r>
              <a:rPr lang="en-US" sz="1800" dirty="0"/>
              <a:t>Ergonomic</a:t>
            </a:r>
          </a:p>
          <a:p>
            <a:pPr marL="342900" indent="-342900">
              <a:buClr>
                <a:srgbClr val="009999"/>
              </a:buClr>
              <a:buFont typeface="Wingdings" pitchFamily="2" charset="2"/>
              <a:buChar char="§"/>
            </a:pPr>
            <a:r>
              <a:rPr lang="en-US" sz="1800" dirty="0"/>
              <a:t>Tough &amp; Durable – twice the strength of standard nylon</a:t>
            </a:r>
          </a:p>
          <a:p>
            <a:pPr marL="342900" indent="-342900">
              <a:buClr>
                <a:srgbClr val="009999"/>
              </a:buClr>
              <a:buFont typeface="Wingdings" pitchFamily="2" charset="2"/>
              <a:buChar char="§"/>
            </a:pPr>
            <a:r>
              <a:rPr lang="en-US" sz="1800" dirty="0"/>
              <a:t>Safe - no sharp exposed edges</a:t>
            </a:r>
          </a:p>
          <a:p>
            <a:pPr marL="342900" indent="-342900">
              <a:buClr>
                <a:srgbClr val="009999"/>
              </a:buClr>
              <a:buFont typeface="Wingdings" pitchFamily="2" charset="2"/>
              <a:buChar char="§"/>
            </a:pPr>
            <a:r>
              <a:rPr lang="en-US" sz="1800" dirty="0"/>
              <a:t>Handle holds replacement blades</a:t>
            </a:r>
          </a:p>
        </p:txBody>
      </p:sp>
      <p:sp>
        <p:nvSpPr>
          <p:cNvPr id="4" name="Footer Placeholder 3">
            <a:extLst>
              <a:ext uri="{FF2B5EF4-FFF2-40B4-BE49-F238E27FC236}">
                <a16:creationId xmlns:a16="http://schemas.microsoft.com/office/drawing/2014/main" id="{FB241887-B2E4-87D2-D959-90AA1D2CCF29}"/>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045637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3</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5">
            <a:extLst>
              <a:ext uri="{FF2B5EF4-FFF2-40B4-BE49-F238E27FC236}">
                <a16:creationId xmlns:a16="http://schemas.microsoft.com/office/drawing/2014/main" id="{58F52319-6CD6-37E4-A3F1-4AA0D5F54B9A}"/>
              </a:ext>
            </a:extLst>
          </p:cNvPr>
          <p:cNvPicPr>
            <a:picLocks noChangeAspect="1"/>
          </p:cNvPicPr>
          <p:nvPr/>
        </p:nvPicPr>
        <p:blipFill rotWithShape="1">
          <a:blip r:embed="rId3">
            <a:extLst>
              <a:ext uri="{28A0092B-C50C-407E-A947-70E740481C1C}">
                <a14:useLocalDpi xmlns:a14="http://schemas.microsoft.com/office/drawing/2010/main" val="0"/>
              </a:ext>
            </a:extLst>
          </a:blip>
          <a:srcRect l="22975" t="11664" r="23222" b="2205"/>
          <a:stretch/>
        </p:blipFill>
        <p:spPr>
          <a:xfrm>
            <a:off x="10577952" y="467067"/>
            <a:ext cx="1493407" cy="2737331"/>
          </a:xfrm>
          <a:prstGeom prst="rect">
            <a:avLst/>
          </a:prstGeom>
        </p:spPr>
      </p:pic>
      <p:pic>
        <p:nvPicPr>
          <p:cNvPr id="9" name="Picture 8">
            <a:extLst>
              <a:ext uri="{FF2B5EF4-FFF2-40B4-BE49-F238E27FC236}">
                <a16:creationId xmlns:a16="http://schemas.microsoft.com/office/drawing/2014/main" id="{F474F062-6EAA-7C69-DC84-2F99FBC502A6}"/>
              </a:ext>
            </a:extLst>
          </p:cNvPr>
          <p:cNvPicPr>
            <a:picLocks noChangeAspect="1"/>
          </p:cNvPicPr>
          <p:nvPr/>
        </p:nvPicPr>
        <p:blipFill rotWithShape="1">
          <a:blip r:embed="rId4">
            <a:extLst>
              <a:ext uri="{28A0092B-C50C-407E-A947-70E740481C1C}">
                <a14:useLocalDpi xmlns:a14="http://schemas.microsoft.com/office/drawing/2010/main" val="0"/>
              </a:ext>
            </a:extLst>
          </a:blip>
          <a:srcRect l="30615" t="9575" r="28081"/>
          <a:stretch/>
        </p:blipFill>
        <p:spPr>
          <a:xfrm>
            <a:off x="8946242" y="642788"/>
            <a:ext cx="1156848" cy="2435857"/>
          </a:xfrm>
          <a:prstGeom prst="rect">
            <a:avLst/>
          </a:prstGeom>
        </p:spPr>
      </p:pic>
      <p:pic>
        <p:nvPicPr>
          <p:cNvPr id="10" name="Picture 9">
            <a:extLst>
              <a:ext uri="{FF2B5EF4-FFF2-40B4-BE49-F238E27FC236}">
                <a16:creationId xmlns:a16="http://schemas.microsoft.com/office/drawing/2014/main" id="{3904A784-AA4D-AB59-486F-E3D974B45B1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6450445" y="2446516"/>
            <a:ext cx="2663513" cy="1313787"/>
          </a:xfrm>
          <a:prstGeom prst="rect">
            <a:avLst/>
          </a:prstGeom>
        </p:spPr>
      </p:pic>
      <p:pic>
        <p:nvPicPr>
          <p:cNvPr id="11" name="Picture 10">
            <a:extLst>
              <a:ext uri="{FF2B5EF4-FFF2-40B4-BE49-F238E27FC236}">
                <a16:creationId xmlns:a16="http://schemas.microsoft.com/office/drawing/2014/main" id="{6C787B6C-5940-7A31-03DD-81E30F7D824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38481" y="3285160"/>
            <a:ext cx="2353519" cy="2665848"/>
          </a:xfrm>
          <a:prstGeom prst="rect">
            <a:avLst/>
          </a:prstGeom>
        </p:spPr>
      </p:pic>
      <p:pic>
        <p:nvPicPr>
          <p:cNvPr id="12" name="Picture 11">
            <a:extLst>
              <a:ext uri="{FF2B5EF4-FFF2-40B4-BE49-F238E27FC236}">
                <a16:creationId xmlns:a16="http://schemas.microsoft.com/office/drawing/2014/main" id="{5F2F9077-8F74-7808-F18C-89F674470840}"/>
              </a:ext>
            </a:extLst>
          </p:cNvPr>
          <p:cNvPicPr>
            <a:picLocks noChangeAspect="1"/>
          </p:cNvPicPr>
          <p:nvPr/>
        </p:nvPicPr>
        <p:blipFill rotWithShape="1">
          <a:blip r:embed="rId7">
            <a:extLst>
              <a:ext uri="{28A0092B-C50C-407E-A947-70E740481C1C}">
                <a14:useLocalDpi xmlns:a14="http://schemas.microsoft.com/office/drawing/2010/main" val="0"/>
              </a:ext>
            </a:extLst>
          </a:blip>
          <a:srcRect l="33028" t="10859" r="36866"/>
          <a:stretch/>
        </p:blipFill>
        <p:spPr>
          <a:xfrm>
            <a:off x="8843058" y="3078646"/>
            <a:ext cx="898964" cy="2874480"/>
          </a:xfrm>
          <a:prstGeom prst="rect">
            <a:avLst/>
          </a:prstGeom>
        </p:spPr>
      </p:pic>
      <p:sp>
        <p:nvSpPr>
          <p:cNvPr id="13" name="Content Placeholder 3">
            <a:extLst>
              <a:ext uri="{FF2B5EF4-FFF2-40B4-BE49-F238E27FC236}">
                <a16:creationId xmlns:a16="http://schemas.microsoft.com/office/drawing/2014/main" id="{E36B10A0-CD27-600D-FA3A-3723C47FF25C}"/>
              </a:ext>
            </a:extLst>
          </p:cNvPr>
          <p:cNvSpPr txBox="1">
            <a:spLocks/>
          </p:cNvSpPr>
          <p:nvPr/>
        </p:nvSpPr>
        <p:spPr>
          <a:xfrm>
            <a:off x="474955" y="2134658"/>
            <a:ext cx="6571649" cy="341968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gt;25% less effort &amp; fatigue</a:t>
            </a:r>
          </a:p>
          <a:p>
            <a:pPr>
              <a:spcBef>
                <a:spcPts val="600"/>
              </a:spcBef>
            </a:pPr>
            <a:r>
              <a:rPr lang="en-US" dirty="0"/>
              <a:t>Guaranteed crimp connections</a:t>
            </a:r>
          </a:p>
          <a:p>
            <a:pPr>
              <a:spcBef>
                <a:spcPts val="600"/>
              </a:spcBef>
            </a:pPr>
            <a:r>
              <a:rPr lang="en-US" dirty="0"/>
              <a:t>High pull-out force</a:t>
            </a:r>
          </a:p>
          <a:p>
            <a:pPr>
              <a:spcBef>
                <a:spcPts val="600"/>
              </a:spcBef>
            </a:pPr>
            <a:r>
              <a:rPr lang="en-US" dirty="0"/>
              <a:t>Integrated forced-lock-system</a:t>
            </a:r>
          </a:p>
          <a:p>
            <a:pPr>
              <a:spcBef>
                <a:spcPts val="600"/>
              </a:spcBef>
            </a:pPr>
            <a:r>
              <a:rPr lang="en-US" dirty="0"/>
              <a:t>Precision made crimping dies</a:t>
            </a:r>
          </a:p>
          <a:p>
            <a:pPr>
              <a:spcBef>
                <a:spcPts val="600"/>
              </a:spcBef>
            </a:pPr>
            <a:r>
              <a:rPr lang="en-US" dirty="0"/>
              <a:t>2-component ergonomic handles for non-slip operation</a:t>
            </a:r>
          </a:p>
          <a:p>
            <a:pPr>
              <a:spcBef>
                <a:spcPts val="600"/>
              </a:spcBef>
            </a:pPr>
            <a:r>
              <a:rPr lang="en-US" dirty="0"/>
              <a:t>Ferrules, turned contacts, coaxial connectors, FO connectors, D-Sub contacts, snap-in contacts, solar connectors and more</a:t>
            </a:r>
          </a:p>
          <a:p>
            <a:pPr>
              <a:spcBef>
                <a:spcPts val="600"/>
              </a:spcBef>
            </a:pPr>
            <a:r>
              <a:rPr lang="en-US" dirty="0"/>
              <a:t>UL486F with Phoenix Contact ferrules                         </a:t>
            </a:r>
          </a:p>
        </p:txBody>
      </p:sp>
      <p:sp>
        <p:nvSpPr>
          <p:cNvPr id="4" name="Footer Placeholder 3">
            <a:extLst>
              <a:ext uri="{FF2B5EF4-FFF2-40B4-BE49-F238E27FC236}">
                <a16:creationId xmlns:a16="http://schemas.microsoft.com/office/drawing/2014/main" id="{D06398B9-44D1-AAF8-AB3F-B7D2A51C1EF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07904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a:t>
            </a:r>
            <a:r>
              <a:rPr lang="en-GB" dirty="0" err="1"/>
              <a:t>Centrus</a:t>
            </a:r>
            <a:r>
              <a:rPr lang="en-GB" dirty="0"/>
              <a:t>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4</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4" name="Content Placeholder 3">
            <a:extLst>
              <a:ext uri="{FF2B5EF4-FFF2-40B4-BE49-F238E27FC236}">
                <a16:creationId xmlns:a16="http://schemas.microsoft.com/office/drawing/2014/main" id="{20FC7114-984F-F4A3-27F8-BD1B6A437C1A}"/>
              </a:ext>
            </a:extLst>
          </p:cNvPr>
          <p:cNvSpPr txBox="1">
            <a:spLocks/>
          </p:cNvSpPr>
          <p:nvPr/>
        </p:nvSpPr>
        <p:spPr>
          <a:xfrm>
            <a:off x="457199" y="2173970"/>
            <a:ext cx="5000625" cy="380825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buClr>
                <a:srgbClr val="00B4B0"/>
              </a:buClr>
            </a:pPr>
            <a:r>
              <a:rPr lang="en-US" dirty="0"/>
              <a:t>Self-adjusting</a:t>
            </a:r>
          </a:p>
          <a:p>
            <a:pPr>
              <a:spcBef>
                <a:spcPts val="600"/>
              </a:spcBef>
              <a:buClr>
                <a:srgbClr val="00B4B0"/>
              </a:buClr>
            </a:pPr>
            <a:r>
              <a:rPr lang="en-US" dirty="0"/>
              <a:t>Smaller ergonomic handles</a:t>
            </a:r>
          </a:p>
          <a:p>
            <a:pPr>
              <a:spcBef>
                <a:spcPts val="600"/>
              </a:spcBef>
              <a:buClr>
                <a:srgbClr val="00B4B0"/>
              </a:buClr>
            </a:pPr>
            <a:r>
              <a:rPr lang="en-US" dirty="0"/>
              <a:t>Non-slip pressure pad</a:t>
            </a:r>
          </a:p>
          <a:p>
            <a:pPr>
              <a:spcBef>
                <a:spcPts val="600"/>
              </a:spcBef>
              <a:buClr>
                <a:srgbClr val="00B4B0"/>
              </a:buClr>
            </a:pPr>
            <a:r>
              <a:rPr lang="en-US" dirty="0"/>
              <a:t>Ratcheted mechanism ensure proper crimp</a:t>
            </a:r>
          </a:p>
          <a:p>
            <a:pPr>
              <a:spcBef>
                <a:spcPts val="600"/>
              </a:spcBef>
              <a:buClr>
                <a:srgbClr val="00B4B0"/>
              </a:buClr>
            </a:pPr>
            <a:r>
              <a:rPr lang="en-US" dirty="0"/>
              <a:t>Protective head cover and Balance weight</a:t>
            </a:r>
          </a:p>
          <a:p>
            <a:pPr>
              <a:spcBef>
                <a:spcPts val="600"/>
              </a:spcBef>
              <a:buClr>
                <a:srgbClr val="00B4B0"/>
              </a:buClr>
            </a:pPr>
            <a:r>
              <a:rPr lang="en-US" dirty="0"/>
              <a:t>UL486F with Phoenix Contact ferrules</a:t>
            </a:r>
          </a:p>
          <a:p>
            <a:pPr>
              <a:spcBef>
                <a:spcPts val="600"/>
              </a:spcBef>
              <a:buClr>
                <a:srgbClr val="00B4B0"/>
              </a:buClr>
            </a:pPr>
            <a:r>
              <a:rPr lang="en-US" dirty="0"/>
              <a:t>Available with square or hex crimp profiles</a:t>
            </a:r>
          </a:p>
          <a:p>
            <a:pPr>
              <a:spcBef>
                <a:spcPts val="600"/>
              </a:spcBef>
              <a:buClr>
                <a:srgbClr val="00B4B0"/>
              </a:buClr>
            </a:pPr>
            <a:r>
              <a:rPr lang="en-US" dirty="0"/>
              <a:t>CRIMPFOX </a:t>
            </a:r>
            <a:r>
              <a:rPr lang="en-US" dirty="0" err="1"/>
              <a:t>Centrus</a:t>
            </a:r>
            <a:r>
              <a:rPr lang="en-US" dirty="0"/>
              <a:t> Set includes: CRIMPFOX </a:t>
            </a:r>
            <a:r>
              <a:rPr lang="en-US" dirty="0" err="1"/>
              <a:t>Centrus</a:t>
            </a:r>
            <a:r>
              <a:rPr lang="en-US" dirty="0"/>
              <a:t>, AI </a:t>
            </a:r>
            <a:r>
              <a:rPr lang="en-US" dirty="0" err="1"/>
              <a:t>Sorti</a:t>
            </a:r>
            <a:r>
              <a:rPr lang="en-US" dirty="0"/>
              <a:t> Box Rd, CUTFOX 18, WIREFOX 10, Tool-Kit Standard Empty</a:t>
            </a:r>
          </a:p>
          <a:p>
            <a:pPr>
              <a:spcBef>
                <a:spcPts val="600"/>
              </a:spcBef>
              <a:buClr>
                <a:srgbClr val="00B4B0"/>
              </a:buClr>
            </a:pPr>
            <a:r>
              <a:rPr lang="en-US" dirty="0"/>
              <a:t>Available with no cover</a:t>
            </a:r>
          </a:p>
        </p:txBody>
      </p:sp>
      <p:pic>
        <p:nvPicPr>
          <p:cNvPr id="5" name="Content Placeholder 6">
            <a:extLst>
              <a:ext uri="{FF2B5EF4-FFF2-40B4-BE49-F238E27FC236}">
                <a16:creationId xmlns:a16="http://schemas.microsoft.com/office/drawing/2014/main" id="{5C87B084-4F33-2F2C-BBB9-A8C51501F12B}"/>
              </a:ext>
            </a:extLst>
          </p:cNvPr>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rot="18122077">
            <a:off x="8913548" y="129043"/>
            <a:ext cx="2050589" cy="390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83CFC6F3-E450-D62F-2208-2C99F4AEB5F0}"/>
              </a:ext>
            </a:extLst>
          </p:cNvPr>
          <p:cNvPicPr>
            <a:picLocks noChangeAspect="1"/>
          </p:cNvPicPr>
          <p:nvPr/>
        </p:nvPicPr>
        <p:blipFill>
          <a:blip r:embed="rId4"/>
          <a:stretch>
            <a:fillRect/>
          </a:stretch>
        </p:blipFill>
        <p:spPr>
          <a:xfrm rot="805757">
            <a:off x="6430880" y="2071258"/>
            <a:ext cx="1712373" cy="3801173"/>
          </a:xfrm>
          <a:prstGeom prst="rect">
            <a:avLst/>
          </a:prstGeom>
        </p:spPr>
      </p:pic>
      <p:pic>
        <p:nvPicPr>
          <p:cNvPr id="9" name="Picture 5" descr="M:\05_BU_MI\02_Produktmarketing\04_TOOL_fox_CABINET_add-on\01_Mitarbeiter\_Frischemeier\Centrus\Artikelanlage\CRIMPFOX CENTRUS 6S SET.png">
            <a:extLst>
              <a:ext uri="{FF2B5EF4-FFF2-40B4-BE49-F238E27FC236}">
                <a16:creationId xmlns:a16="http://schemas.microsoft.com/office/drawing/2014/main" id="{246E6616-D38A-C83B-1E27-100AA8C5E0A8}"/>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5000" b="92708" l="2891" r="90000"/>
                    </a14:imgEffect>
                  </a14:imgLayer>
                </a14:imgProps>
              </a:ext>
              <a:ext uri="{28A0092B-C50C-407E-A947-70E740481C1C}">
                <a14:useLocalDpi xmlns:a14="http://schemas.microsoft.com/office/drawing/2010/main" val="0"/>
              </a:ext>
            </a:extLst>
          </a:blip>
          <a:srcRect b="5631"/>
          <a:stretch/>
        </p:blipFill>
        <p:spPr bwMode="auto">
          <a:xfrm>
            <a:off x="9337588" y="3737318"/>
            <a:ext cx="2692367" cy="1957426"/>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9">
            <a:extLst>
              <a:ext uri="{FF2B5EF4-FFF2-40B4-BE49-F238E27FC236}">
                <a16:creationId xmlns:a16="http://schemas.microsoft.com/office/drawing/2014/main" id="{14E3FE4E-DE4B-A37B-0244-A7D8D8A1352A}"/>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260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a:t>
            </a:r>
            <a:r>
              <a:rPr lang="en-GB" dirty="0" err="1"/>
              <a:t>Centrus</a:t>
            </a:r>
            <a:r>
              <a:rPr lang="en-GB" dirty="0"/>
              <a:t> No Cover Handle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5</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4" name="Content Placeholder 6">
            <a:extLst>
              <a:ext uri="{FF2B5EF4-FFF2-40B4-BE49-F238E27FC236}">
                <a16:creationId xmlns:a16="http://schemas.microsoft.com/office/drawing/2014/main" id="{D2F15AAD-1C02-AE3E-5B50-B4D65C4211A6}"/>
              </a:ext>
            </a:extLst>
          </p:cNvPr>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9336259" y="2122608"/>
            <a:ext cx="1838108" cy="3497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BFA80520-CDBD-AE2E-A5BA-56C276258A26}"/>
              </a:ext>
            </a:extLst>
          </p:cNvPr>
          <p:cNvPicPr>
            <a:picLocks noChangeAspect="1"/>
          </p:cNvPicPr>
          <p:nvPr/>
        </p:nvPicPr>
        <p:blipFill>
          <a:blip r:embed="rId4"/>
          <a:stretch>
            <a:fillRect/>
          </a:stretch>
        </p:blipFill>
        <p:spPr>
          <a:xfrm rot="21435015">
            <a:off x="5401896" y="2163739"/>
            <a:ext cx="1668804" cy="3704457"/>
          </a:xfrm>
          <a:prstGeom prst="rect">
            <a:avLst/>
          </a:prstGeom>
        </p:spPr>
      </p:pic>
      <p:sp>
        <p:nvSpPr>
          <p:cNvPr id="6" name="Content Placeholder 3">
            <a:extLst>
              <a:ext uri="{FF2B5EF4-FFF2-40B4-BE49-F238E27FC236}">
                <a16:creationId xmlns:a16="http://schemas.microsoft.com/office/drawing/2014/main" id="{AAA0A89B-D043-B4E7-AAEF-A129EBA044E4}"/>
              </a:ext>
            </a:extLst>
          </p:cNvPr>
          <p:cNvSpPr txBox="1">
            <a:spLocks/>
          </p:cNvSpPr>
          <p:nvPr/>
        </p:nvSpPr>
        <p:spPr>
          <a:xfrm>
            <a:off x="457200" y="2173970"/>
            <a:ext cx="3562350" cy="242660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buClr>
                <a:srgbClr val="00B4B0"/>
              </a:buClr>
            </a:pPr>
            <a:r>
              <a:rPr lang="en-US" dirty="0"/>
              <a:t>CRIMPFOX </a:t>
            </a:r>
            <a:r>
              <a:rPr lang="en-US" dirty="0" err="1"/>
              <a:t>Centrus</a:t>
            </a:r>
            <a:r>
              <a:rPr lang="en-US" dirty="0"/>
              <a:t> 6 is available with no cover over head of tool</a:t>
            </a:r>
          </a:p>
          <a:p>
            <a:pPr>
              <a:spcBef>
                <a:spcPts val="600"/>
              </a:spcBef>
              <a:buClr>
                <a:srgbClr val="00B4B0"/>
              </a:buClr>
            </a:pPr>
            <a:endParaRPr lang="en-US" dirty="0"/>
          </a:p>
          <a:p>
            <a:pPr>
              <a:spcBef>
                <a:spcPts val="600"/>
              </a:spcBef>
              <a:buClr>
                <a:srgbClr val="00B4B0"/>
              </a:buClr>
            </a:pPr>
            <a:r>
              <a:rPr lang="en-US" dirty="0"/>
              <a:t>6S-NC #1202882</a:t>
            </a:r>
          </a:p>
          <a:p>
            <a:pPr>
              <a:spcBef>
                <a:spcPts val="600"/>
              </a:spcBef>
              <a:buClr>
                <a:srgbClr val="00B4B0"/>
              </a:buClr>
            </a:pPr>
            <a:r>
              <a:rPr lang="en-US" dirty="0"/>
              <a:t>6H-NC #1201883</a:t>
            </a:r>
          </a:p>
        </p:txBody>
      </p:sp>
      <p:sp>
        <p:nvSpPr>
          <p:cNvPr id="9" name="TextBox 8">
            <a:extLst>
              <a:ext uri="{FF2B5EF4-FFF2-40B4-BE49-F238E27FC236}">
                <a16:creationId xmlns:a16="http://schemas.microsoft.com/office/drawing/2014/main" id="{C46F7A32-6FDA-5371-EF35-B47436E6B343}"/>
              </a:ext>
            </a:extLst>
          </p:cNvPr>
          <p:cNvSpPr txBox="1"/>
          <p:nvPr/>
        </p:nvSpPr>
        <p:spPr>
          <a:xfrm>
            <a:off x="9493063" y="1546667"/>
            <a:ext cx="1171575" cy="423634"/>
          </a:xfrm>
          <a:prstGeom prst="rect">
            <a:avLst/>
          </a:prstGeom>
          <a:noFill/>
          <a:ln>
            <a:noFill/>
          </a:ln>
        </p:spPr>
        <p:txBody>
          <a:bodyPr wrap="square" lIns="0" tIns="0" rIns="0" bIns="0" rtlCol="0">
            <a:noAutofit/>
          </a:bodyPr>
          <a:lstStyle/>
          <a:p>
            <a:pPr algn="l"/>
            <a:r>
              <a:rPr lang="en-US" sz="1800" dirty="0"/>
              <a:t>With cover</a:t>
            </a:r>
          </a:p>
        </p:txBody>
      </p:sp>
      <p:sp>
        <p:nvSpPr>
          <p:cNvPr id="10" name="TextBox 9">
            <a:extLst>
              <a:ext uri="{FF2B5EF4-FFF2-40B4-BE49-F238E27FC236}">
                <a16:creationId xmlns:a16="http://schemas.microsoft.com/office/drawing/2014/main" id="{567D3C4D-533F-B408-849B-2096E4F59B87}"/>
              </a:ext>
            </a:extLst>
          </p:cNvPr>
          <p:cNvSpPr txBox="1"/>
          <p:nvPr/>
        </p:nvSpPr>
        <p:spPr>
          <a:xfrm>
            <a:off x="5664428" y="1614694"/>
            <a:ext cx="1052701" cy="423634"/>
          </a:xfrm>
          <a:prstGeom prst="rect">
            <a:avLst/>
          </a:prstGeom>
          <a:noFill/>
          <a:ln>
            <a:noFill/>
          </a:ln>
        </p:spPr>
        <p:txBody>
          <a:bodyPr wrap="square" lIns="0" tIns="0" rIns="0" bIns="0" rtlCol="0">
            <a:noAutofit/>
          </a:bodyPr>
          <a:lstStyle/>
          <a:p>
            <a:pPr algn="l"/>
            <a:r>
              <a:rPr lang="en-US" sz="1800" dirty="0"/>
              <a:t>No cover</a:t>
            </a:r>
          </a:p>
        </p:txBody>
      </p:sp>
      <p:sp>
        <p:nvSpPr>
          <p:cNvPr id="11" name="Oval 10">
            <a:extLst>
              <a:ext uri="{FF2B5EF4-FFF2-40B4-BE49-F238E27FC236}">
                <a16:creationId xmlns:a16="http://schemas.microsoft.com/office/drawing/2014/main" id="{4FC0EDB4-BC15-D05E-FC0A-6FBF4721E2CF}"/>
              </a:ext>
            </a:extLst>
          </p:cNvPr>
          <p:cNvSpPr/>
          <p:nvPr/>
        </p:nvSpPr>
        <p:spPr>
          <a:xfrm>
            <a:off x="9553568" y="1949383"/>
            <a:ext cx="1052701" cy="921654"/>
          </a:xfrm>
          <a:prstGeom prst="ellipse">
            <a:avLst/>
          </a:prstGeom>
          <a:noFill/>
          <a:ln w="50800">
            <a:solidFill>
              <a:srgbClr val="FF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p>
        </p:txBody>
      </p:sp>
      <p:sp>
        <p:nvSpPr>
          <p:cNvPr id="12" name="Oval 11">
            <a:extLst>
              <a:ext uri="{FF2B5EF4-FFF2-40B4-BE49-F238E27FC236}">
                <a16:creationId xmlns:a16="http://schemas.microsoft.com/office/drawing/2014/main" id="{CF87B728-43B0-AC2F-CA34-F9A0DEDF42DE}"/>
              </a:ext>
            </a:extLst>
          </p:cNvPr>
          <p:cNvSpPr/>
          <p:nvPr/>
        </p:nvSpPr>
        <p:spPr>
          <a:xfrm>
            <a:off x="5664432" y="2077719"/>
            <a:ext cx="1052701" cy="921654"/>
          </a:xfrm>
          <a:prstGeom prst="ellipse">
            <a:avLst/>
          </a:prstGeom>
          <a:noFill/>
          <a:ln w="50800">
            <a:solidFill>
              <a:srgbClr val="FF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p>
        </p:txBody>
      </p:sp>
      <p:sp>
        <p:nvSpPr>
          <p:cNvPr id="13" name="Footer Placeholder 12">
            <a:extLst>
              <a:ext uri="{FF2B5EF4-FFF2-40B4-BE49-F238E27FC236}">
                <a16:creationId xmlns:a16="http://schemas.microsoft.com/office/drawing/2014/main" id="{6B62A1C8-1B40-F953-DEFB-BB491835B781}"/>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5898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Duo 10 and 16S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6</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4" name="Content Placeholder 3">
            <a:extLst>
              <a:ext uri="{FF2B5EF4-FFF2-40B4-BE49-F238E27FC236}">
                <a16:creationId xmlns:a16="http://schemas.microsoft.com/office/drawing/2014/main" id="{FCD0BCDC-3F21-22D9-3EAA-E201DCD93A3B}"/>
              </a:ext>
            </a:extLst>
          </p:cNvPr>
          <p:cNvSpPr txBox="1">
            <a:spLocks/>
          </p:cNvSpPr>
          <p:nvPr/>
        </p:nvSpPr>
        <p:spPr>
          <a:xfrm>
            <a:off x="414510" y="1795104"/>
            <a:ext cx="9186690" cy="337221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Rotating crimping pliers for front or side entry</a:t>
            </a:r>
          </a:p>
          <a:p>
            <a:pPr>
              <a:spcBef>
                <a:spcPts val="600"/>
              </a:spcBef>
            </a:pPr>
            <a:r>
              <a:rPr lang="en-US" dirty="0"/>
              <a:t>Duo 10 accommodates 24 - 8 AWG single wires, or 2x20 - 2x12 AWG twin ferrules</a:t>
            </a:r>
          </a:p>
          <a:p>
            <a:pPr>
              <a:spcBef>
                <a:spcPts val="600"/>
              </a:spcBef>
            </a:pPr>
            <a:r>
              <a:rPr lang="en-US" dirty="0"/>
              <a:t>Duo 16S accommodates 24 - 6 AWG single wires, or 2x20 - 2x10 AWG twin ferrules</a:t>
            </a:r>
          </a:p>
          <a:p>
            <a:pPr>
              <a:spcBef>
                <a:spcPts val="600"/>
              </a:spcBef>
            </a:pPr>
            <a:r>
              <a:rPr lang="en-US" dirty="0"/>
              <a:t>Ergonomic, non-slip pressure pad handling</a:t>
            </a:r>
          </a:p>
          <a:p>
            <a:pPr>
              <a:spcBef>
                <a:spcPts val="600"/>
              </a:spcBef>
            </a:pPr>
            <a:r>
              <a:rPr lang="en-US" dirty="0"/>
              <a:t>Self-adjusting for AWG</a:t>
            </a:r>
          </a:p>
          <a:p>
            <a:pPr>
              <a:spcBef>
                <a:spcPts val="600"/>
              </a:spcBef>
            </a:pPr>
            <a:r>
              <a:rPr lang="en-US" dirty="0"/>
              <a:t>UL486F with Phoenix Contact ferrules</a:t>
            </a:r>
          </a:p>
          <a:p>
            <a:pPr>
              <a:spcBef>
                <a:spcPts val="600"/>
              </a:spcBef>
            </a:pPr>
            <a:r>
              <a:rPr lang="en-US" dirty="0"/>
              <a:t>Trapezoidal crimp profile</a:t>
            </a:r>
          </a:p>
          <a:p>
            <a:pPr>
              <a:spcBef>
                <a:spcPts val="600"/>
              </a:spcBef>
            </a:pPr>
            <a:r>
              <a:rPr lang="en-US" dirty="0"/>
              <a:t>CRIMPFOX Duo 10 Part #1031721, Duo 16S Part #1202877</a:t>
            </a:r>
          </a:p>
          <a:p>
            <a:pPr>
              <a:spcBef>
                <a:spcPts val="600"/>
              </a:spcBef>
            </a:pPr>
            <a:r>
              <a:rPr lang="en-US" dirty="0"/>
              <a:t>Sets includes AI </a:t>
            </a:r>
            <a:r>
              <a:rPr lang="en-US" dirty="0" err="1"/>
              <a:t>Sorti</a:t>
            </a:r>
            <a:r>
              <a:rPr lang="en-US" dirty="0"/>
              <a:t> Box Rd, AI </a:t>
            </a:r>
            <a:r>
              <a:rPr lang="en-US" dirty="0" err="1"/>
              <a:t>Sorti</a:t>
            </a:r>
            <a:r>
              <a:rPr lang="en-US" dirty="0"/>
              <a:t> Box ANT, Tool-Kit Standard Empty</a:t>
            </a:r>
          </a:p>
        </p:txBody>
      </p:sp>
      <p:pic>
        <p:nvPicPr>
          <p:cNvPr id="5" name="Picture 4">
            <a:extLst>
              <a:ext uri="{FF2B5EF4-FFF2-40B4-BE49-F238E27FC236}">
                <a16:creationId xmlns:a16="http://schemas.microsoft.com/office/drawing/2014/main" id="{3C8BC6F8-7B10-E71A-1C9F-29FE1F74BEAC}"/>
              </a:ext>
            </a:extLst>
          </p:cNvPr>
          <p:cNvPicPr>
            <a:picLocks noChangeAspect="1"/>
          </p:cNvPicPr>
          <p:nvPr/>
        </p:nvPicPr>
        <p:blipFill rotWithShape="1">
          <a:blip r:embed="rId3"/>
          <a:srcRect t="11617"/>
          <a:stretch/>
        </p:blipFill>
        <p:spPr>
          <a:xfrm rot="19791435">
            <a:off x="8806301" y="564737"/>
            <a:ext cx="3001524" cy="2793604"/>
          </a:xfrm>
          <a:prstGeom prst="rect">
            <a:avLst/>
          </a:prstGeom>
        </p:spPr>
      </p:pic>
      <p:pic>
        <p:nvPicPr>
          <p:cNvPr id="6" name="Picture 5">
            <a:extLst>
              <a:ext uri="{FF2B5EF4-FFF2-40B4-BE49-F238E27FC236}">
                <a16:creationId xmlns:a16="http://schemas.microsoft.com/office/drawing/2014/main" id="{817DB6CE-FCE9-2C49-DB3A-F7459C4626EA}"/>
              </a:ext>
            </a:extLst>
          </p:cNvPr>
          <p:cNvPicPr>
            <a:picLocks noChangeAspect="1"/>
          </p:cNvPicPr>
          <p:nvPr/>
        </p:nvPicPr>
        <p:blipFill>
          <a:blip r:embed="rId4"/>
          <a:stretch>
            <a:fillRect/>
          </a:stretch>
        </p:blipFill>
        <p:spPr>
          <a:xfrm>
            <a:off x="8374500" y="3363273"/>
            <a:ext cx="3608054" cy="2284807"/>
          </a:xfrm>
          <a:prstGeom prst="rect">
            <a:avLst/>
          </a:prstGeom>
        </p:spPr>
      </p:pic>
      <p:sp>
        <p:nvSpPr>
          <p:cNvPr id="9" name="Footer Placeholder 8">
            <a:extLst>
              <a:ext uri="{FF2B5EF4-FFF2-40B4-BE49-F238E27FC236}">
                <a16:creationId xmlns:a16="http://schemas.microsoft.com/office/drawing/2014/main" id="{BEE2A826-7CED-4EAB-3DC6-43AFBC00B058}"/>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07291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4in1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7</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4" name="Picture 3">
            <a:extLst>
              <a:ext uri="{FF2B5EF4-FFF2-40B4-BE49-F238E27FC236}">
                <a16:creationId xmlns:a16="http://schemas.microsoft.com/office/drawing/2014/main" id="{AB29BBC0-75AC-3EE7-936E-0347353DDFFD}"/>
              </a:ext>
            </a:extLst>
          </p:cNvPr>
          <p:cNvPicPr>
            <a:picLocks noChangeAspect="1"/>
          </p:cNvPicPr>
          <p:nvPr/>
        </p:nvPicPr>
        <p:blipFill rotWithShape="1">
          <a:blip r:embed="rId3">
            <a:extLst>
              <a:ext uri="{28A0092B-C50C-407E-A947-70E740481C1C}">
                <a14:useLocalDpi xmlns:a14="http://schemas.microsoft.com/office/drawing/2010/main" val="0"/>
              </a:ext>
            </a:extLst>
          </a:blip>
          <a:srcRect l="22975" t="11664" r="23222" b="2205"/>
          <a:stretch/>
        </p:blipFill>
        <p:spPr>
          <a:xfrm>
            <a:off x="8542116" y="672942"/>
            <a:ext cx="3098201" cy="4975193"/>
          </a:xfrm>
          <a:prstGeom prst="rect">
            <a:avLst/>
          </a:prstGeom>
        </p:spPr>
      </p:pic>
      <p:sp>
        <p:nvSpPr>
          <p:cNvPr id="5" name="Content Placeholder 3">
            <a:extLst>
              <a:ext uri="{FF2B5EF4-FFF2-40B4-BE49-F238E27FC236}">
                <a16:creationId xmlns:a16="http://schemas.microsoft.com/office/drawing/2014/main" id="{EC333F63-82E8-AD3E-820B-9C74E675CFD4}"/>
              </a:ext>
            </a:extLst>
          </p:cNvPr>
          <p:cNvSpPr txBox="1">
            <a:spLocks/>
          </p:cNvSpPr>
          <p:nvPr/>
        </p:nvSpPr>
        <p:spPr>
          <a:xfrm>
            <a:off x="550872" y="2267103"/>
            <a:ext cx="6255041" cy="301095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20-14 AWG - 4 in 1 Combination tool</a:t>
            </a:r>
          </a:p>
          <a:p>
            <a:pPr>
              <a:spcBef>
                <a:spcPts val="600"/>
              </a:spcBef>
            </a:pPr>
            <a:r>
              <a:rPr lang="en-US" dirty="0"/>
              <a:t>Cut, Strip, Twist and Crimp with one tool</a:t>
            </a:r>
          </a:p>
          <a:p>
            <a:pPr>
              <a:spcBef>
                <a:spcPts val="600"/>
              </a:spcBef>
            </a:pPr>
            <a:r>
              <a:rPr lang="en-US" dirty="0"/>
              <a:t>4-stage pressure lock ensures high quality crimping</a:t>
            </a:r>
          </a:p>
          <a:p>
            <a:pPr>
              <a:spcBef>
                <a:spcPts val="600"/>
              </a:spcBef>
            </a:pPr>
            <a:r>
              <a:rPr lang="en-US" dirty="0"/>
              <a:t>Quick and easy AWG ferrule magazine change</a:t>
            </a:r>
          </a:p>
          <a:p>
            <a:pPr>
              <a:spcBef>
                <a:spcPts val="600"/>
              </a:spcBef>
            </a:pPr>
            <a:r>
              <a:rPr lang="en-US" dirty="0"/>
              <a:t>Ergonomic handling</a:t>
            </a:r>
          </a:p>
          <a:p>
            <a:pPr>
              <a:spcBef>
                <a:spcPts val="600"/>
              </a:spcBef>
            </a:pPr>
            <a:r>
              <a:rPr lang="en-US" dirty="0"/>
              <a:t>Self-adjusting for AWG</a:t>
            </a:r>
          </a:p>
          <a:p>
            <a:pPr>
              <a:spcBef>
                <a:spcPts val="600"/>
              </a:spcBef>
            </a:pPr>
            <a:r>
              <a:rPr lang="en-US" dirty="0"/>
              <a:t>UL486F with Phoenix Contact ferrules</a:t>
            </a:r>
          </a:p>
          <a:p>
            <a:pPr>
              <a:spcBef>
                <a:spcPts val="600"/>
              </a:spcBef>
            </a:pPr>
            <a:endParaRPr lang="en-US" dirty="0"/>
          </a:p>
        </p:txBody>
      </p:sp>
      <p:sp>
        <p:nvSpPr>
          <p:cNvPr id="6" name="Footer Placeholder 5">
            <a:extLst>
              <a:ext uri="{FF2B5EF4-FFF2-40B4-BE49-F238E27FC236}">
                <a16:creationId xmlns:a16="http://schemas.microsoft.com/office/drawing/2014/main" id="{0904D93A-5762-AFF1-9DEE-2106FF309D09}"/>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40115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Crimp Geometrie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8</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grpSp>
        <p:nvGrpSpPr>
          <p:cNvPr id="4" name="Group 3">
            <a:extLst>
              <a:ext uri="{FF2B5EF4-FFF2-40B4-BE49-F238E27FC236}">
                <a16:creationId xmlns:a16="http://schemas.microsoft.com/office/drawing/2014/main" id="{58E5F2D4-F137-4EF0-4796-FC35FF93E2E4}"/>
              </a:ext>
            </a:extLst>
          </p:cNvPr>
          <p:cNvGrpSpPr/>
          <p:nvPr/>
        </p:nvGrpSpPr>
        <p:grpSpPr>
          <a:xfrm>
            <a:off x="1750545" y="1575571"/>
            <a:ext cx="8690099" cy="4180081"/>
            <a:chOff x="2859728" y="1429047"/>
            <a:chExt cx="6545168" cy="3141763"/>
          </a:xfrm>
        </p:grpSpPr>
        <p:grpSp>
          <p:nvGrpSpPr>
            <p:cNvPr id="5" name="Group 21">
              <a:extLst>
                <a:ext uri="{FF2B5EF4-FFF2-40B4-BE49-F238E27FC236}">
                  <a16:creationId xmlns:a16="http://schemas.microsoft.com/office/drawing/2014/main" id="{20A2BEB4-D082-B0E4-1479-ED8D50B5E2CC}"/>
                </a:ext>
              </a:extLst>
            </p:cNvPr>
            <p:cNvGrpSpPr>
              <a:grpSpLocks/>
            </p:cNvGrpSpPr>
            <p:nvPr/>
          </p:nvGrpSpPr>
          <p:grpSpPr bwMode="auto">
            <a:xfrm>
              <a:off x="2859728" y="3624263"/>
              <a:ext cx="2155825" cy="946547"/>
              <a:chOff x="476" y="1525"/>
              <a:chExt cx="1358" cy="795"/>
            </a:xfrm>
          </p:grpSpPr>
          <p:pic>
            <p:nvPicPr>
              <p:cNvPr id="29" name="Picture 8" descr="b-crimp">
                <a:extLst>
                  <a:ext uri="{FF2B5EF4-FFF2-40B4-BE49-F238E27FC236}">
                    <a16:creationId xmlns:a16="http://schemas.microsoft.com/office/drawing/2014/main" id="{6A850321-5D9B-545B-C2B5-9B85B79372C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6" y="1525"/>
                <a:ext cx="662"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Box 51">
                <a:extLst>
                  <a:ext uri="{FF2B5EF4-FFF2-40B4-BE49-F238E27FC236}">
                    <a16:creationId xmlns:a16="http://schemas.microsoft.com/office/drawing/2014/main" id="{7944AF3D-4140-D362-25D7-0B0E0C42E4D9}"/>
                  </a:ext>
                </a:extLst>
              </p:cNvPr>
              <p:cNvSpPr txBox="1">
                <a:spLocks noChangeArrowheads="1"/>
              </p:cNvSpPr>
              <p:nvPr/>
            </p:nvSpPr>
            <p:spPr bwMode="auto">
              <a:xfrm>
                <a:off x="476" y="2036"/>
                <a:ext cx="1358"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B-Crimp</a:t>
                </a:r>
              </a:p>
            </p:txBody>
          </p:sp>
        </p:grpSp>
        <p:grpSp>
          <p:nvGrpSpPr>
            <p:cNvPr id="6" name="Group 24">
              <a:extLst>
                <a:ext uri="{FF2B5EF4-FFF2-40B4-BE49-F238E27FC236}">
                  <a16:creationId xmlns:a16="http://schemas.microsoft.com/office/drawing/2014/main" id="{DCF6FA5B-4E5B-0F7B-B351-CF90EB570A29}"/>
                </a:ext>
              </a:extLst>
            </p:cNvPr>
            <p:cNvGrpSpPr>
              <a:grpSpLocks/>
            </p:cNvGrpSpPr>
            <p:nvPr/>
          </p:nvGrpSpPr>
          <p:grpSpPr bwMode="auto">
            <a:xfrm>
              <a:off x="5287964" y="1429047"/>
              <a:ext cx="2168525" cy="937022"/>
              <a:chOff x="1796" y="1525"/>
              <a:chExt cx="1366" cy="787"/>
            </a:xfrm>
          </p:grpSpPr>
          <p:pic>
            <p:nvPicPr>
              <p:cNvPr id="27" name="Picture 12" descr="o-crimp">
                <a:extLst>
                  <a:ext uri="{FF2B5EF4-FFF2-40B4-BE49-F238E27FC236}">
                    <a16:creationId xmlns:a16="http://schemas.microsoft.com/office/drawing/2014/main" id="{838C3090-6DFF-AA74-217C-8FAA8992629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04" y="1525"/>
                <a:ext cx="584"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Box 51">
                <a:extLst>
                  <a:ext uri="{FF2B5EF4-FFF2-40B4-BE49-F238E27FC236}">
                    <a16:creationId xmlns:a16="http://schemas.microsoft.com/office/drawing/2014/main" id="{7C9B61E8-AAFE-4A15-4AE6-370021DB4E62}"/>
                  </a:ext>
                </a:extLst>
              </p:cNvPr>
              <p:cNvSpPr txBox="1">
                <a:spLocks noChangeArrowheads="1"/>
              </p:cNvSpPr>
              <p:nvPr/>
            </p:nvSpPr>
            <p:spPr bwMode="auto">
              <a:xfrm>
                <a:off x="1796" y="2028"/>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dirty="0">
                    <a:solidFill>
                      <a:schemeClr val="accent2"/>
                    </a:solidFill>
                  </a:rPr>
                  <a:t>O-Crimp</a:t>
                </a:r>
              </a:p>
            </p:txBody>
          </p:sp>
        </p:grpSp>
        <p:grpSp>
          <p:nvGrpSpPr>
            <p:cNvPr id="9" name="Group 27">
              <a:extLst>
                <a:ext uri="{FF2B5EF4-FFF2-40B4-BE49-F238E27FC236}">
                  <a16:creationId xmlns:a16="http://schemas.microsoft.com/office/drawing/2014/main" id="{D7D43F61-EEBA-CF27-8EBD-147DF549E718}"/>
                </a:ext>
              </a:extLst>
            </p:cNvPr>
            <p:cNvGrpSpPr>
              <a:grpSpLocks/>
            </p:cNvGrpSpPr>
            <p:nvPr/>
          </p:nvGrpSpPr>
          <p:grpSpPr bwMode="auto">
            <a:xfrm>
              <a:off x="3863976" y="2455288"/>
              <a:ext cx="2168525" cy="946547"/>
              <a:chOff x="2866" y="1480"/>
              <a:chExt cx="1366" cy="795"/>
            </a:xfrm>
          </p:grpSpPr>
          <p:pic>
            <p:nvPicPr>
              <p:cNvPr id="25" name="Picture 11" descr="indent-crimp">
                <a:extLst>
                  <a:ext uri="{FF2B5EF4-FFF2-40B4-BE49-F238E27FC236}">
                    <a16:creationId xmlns:a16="http://schemas.microsoft.com/office/drawing/2014/main" id="{62E0D2F5-7445-246C-354A-AFBD3FDB5D71}"/>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88" y="1480"/>
                <a:ext cx="525"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Box 51">
                <a:extLst>
                  <a:ext uri="{FF2B5EF4-FFF2-40B4-BE49-F238E27FC236}">
                    <a16:creationId xmlns:a16="http://schemas.microsoft.com/office/drawing/2014/main" id="{232C9658-1FD0-9545-792D-80112263ECB2}"/>
                  </a:ext>
                </a:extLst>
              </p:cNvPr>
              <p:cNvSpPr txBox="1">
                <a:spLocks noChangeArrowheads="1"/>
              </p:cNvSpPr>
              <p:nvPr/>
            </p:nvSpPr>
            <p:spPr bwMode="auto">
              <a:xfrm>
                <a:off x="2866" y="1991"/>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dirty="0">
                    <a:solidFill>
                      <a:schemeClr val="accent2"/>
                    </a:solidFill>
                  </a:rPr>
                  <a:t>Indent-Crimp</a:t>
                </a:r>
              </a:p>
            </p:txBody>
          </p:sp>
        </p:grpSp>
        <p:grpSp>
          <p:nvGrpSpPr>
            <p:cNvPr id="10" name="Group 30">
              <a:extLst>
                <a:ext uri="{FF2B5EF4-FFF2-40B4-BE49-F238E27FC236}">
                  <a16:creationId xmlns:a16="http://schemas.microsoft.com/office/drawing/2014/main" id="{3596198E-7F27-EC53-4409-DC0684D2C5C6}"/>
                </a:ext>
              </a:extLst>
            </p:cNvPr>
            <p:cNvGrpSpPr>
              <a:grpSpLocks/>
            </p:cNvGrpSpPr>
            <p:nvPr/>
          </p:nvGrpSpPr>
          <p:grpSpPr bwMode="auto">
            <a:xfrm>
              <a:off x="7236371" y="1473191"/>
              <a:ext cx="2168525" cy="1183482"/>
              <a:chOff x="4234" y="1480"/>
              <a:chExt cx="1366" cy="994"/>
            </a:xfrm>
          </p:grpSpPr>
          <p:pic>
            <p:nvPicPr>
              <p:cNvPr id="23" name="Picture 9" descr="doppel-indent-crimp">
                <a:extLst>
                  <a:ext uri="{FF2B5EF4-FFF2-40B4-BE49-F238E27FC236}">
                    <a16:creationId xmlns:a16="http://schemas.microsoft.com/office/drawing/2014/main" id="{48B5D073-4512-8EBA-9994-1342F55C67FB}"/>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04" y="1480"/>
                <a:ext cx="588"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Box 51">
                <a:extLst>
                  <a:ext uri="{FF2B5EF4-FFF2-40B4-BE49-F238E27FC236}">
                    <a16:creationId xmlns:a16="http://schemas.microsoft.com/office/drawing/2014/main" id="{47475BDD-6C06-53E9-0955-B39ACDC20B0B}"/>
                  </a:ext>
                </a:extLst>
              </p:cNvPr>
              <p:cNvSpPr txBox="1">
                <a:spLocks noChangeArrowheads="1"/>
              </p:cNvSpPr>
              <p:nvPr/>
            </p:nvSpPr>
            <p:spPr bwMode="auto">
              <a:xfrm>
                <a:off x="4234" y="1983"/>
                <a:ext cx="1366" cy="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Double-Indent-Crimp</a:t>
                </a:r>
              </a:p>
            </p:txBody>
          </p:sp>
        </p:grpSp>
        <p:grpSp>
          <p:nvGrpSpPr>
            <p:cNvPr id="11" name="Group 33">
              <a:extLst>
                <a:ext uri="{FF2B5EF4-FFF2-40B4-BE49-F238E27FC236}">
                  <a16:creationId xmlns:a16="http://schemas.microsoft.com/office/drawing/2014/main" id="{E3977E47-6744-8139-A330-13986606A111}"/>
                </a:ext>
              </a:extLst>
            </p:cNvPr>
            <p:cNvGrpSpPr>
              <a:grpSpLocks/>
            </p:cNvGrpSpPr>
            <p:nvPr/>
          </p:nvGrpSpPr>
          <p:grpSpPr bwMode="auto">
            <a:xfrm>
              <a:off x="7019926" y="3436144"/>
              <a:ext cx="2168525" cy="962025"/>
              <a:chOff x="146" y="2795"/>
              <a:chExt cx="1366" cy="808"/>
            </a:xfrm>
          </p:grpSpPr>
          <p:pic>
            <p:nvPicPr>
              <p:cNvPr id="21" name="Picture 13" descr="trapez-crimp">
                <a:extLst>
                  <a:ext uri="{FF2B5EF4-FFF2-40B4-BE49-F238E27FC236}">
                    <a16:creationId xmlns:a16="http://schemas.microsoft.com/office/drawing/2014/main" id="{E5EB46F5-BA98-7204-0A32-04DE5F020966}"/>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7" y="2795"/>
                <a:ext cx="555"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Box 51">
                <a:extLst>
                  <a:ext uri="{FF2B5EF4-FFF2-40B4-BE49-F238E27FC236}">
                    <a16:creationId xmlns:a16="http://schemas.microsoft.com/office/drawing/2014/main" id="{FDF28241-F548-FE42-4129-25396926E796}"/>
                  </a:ext>
                </a:extLst>
              </p:cNvPr>
              <p:cNvSpPr txBox="1">
                <a:spLocks noChangeArrowheads="1"/>
              </p:cNvSpPr>
              <p:nvPr/>
            </p:nvSpPr>
            <p:spPr bwMode="auto">
              <a:xfrm>
                <a:off x="146" y="3319"/>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Trapezoid-Crimp </a:t>
                </a:r>
              </a:p>
            </p:txBody>
          </p:sp>
        </p:grpSp>
        <p:grpSp>
          <p:nvGrpSpPr>
            <p:cNvPr id="12" name="Group 36">
              <a:extLst>
                <a:ext uri="{FF2B5EF4-FFF2-40B4-BE49-F238E27FC236}">
                  <a16:creationId xmlns:a16="http://schemas.microsoft.com/office/drawing/2014/main" id="{1C3150B3-0436-1F9D-4718-EC2610E36595}"/>
                </a:ext>
              </a:extLst>
            </p:cNvPr>
            <p:cNvGrpSpPr>
              <a:grpSpLocks/>
            </p:cNvGrpSpPr>
            <p:nvPr/>
          </p:nvGrpSpPr>
          <p:grpSpPr bwMode="auto">
            <a:xfrm>
              <a:off x="3119439" y="1447205"/>
              <a:ext cx="2168525" cy="981075"/>
              <a:chOff x="1506" y="2795"/>
              <a:chExt cx="1366" cy="824"/>
            </a:xfrm>
          </p:grpSpPr>
          <p:pic>
            <p:nvPicPr>
              <p:cNvPr id="19" name="Picture 14" descr="vierkant-crimp">
                <a:extLst>
                  <a:ext uri="{FF2B5EF4-FFF2-40B4-BE49-F238E27FC236}">
                    <a16:creationId xmlns:a16="http://schemas.microsoft.com/office/drawing/2014/main" id="{DE6BF8C9-F49A-0D90-B231-996DA48809A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27" y="2795"/>
                <a:ext cx="469"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51">
                <a:extLst>
                  <a:ext uri="{FF2B5EF4-FFF2-40B4-BE49-F238E27FC236}">
                    <a16:creationId xmlns:a16="http://schemas.microsoft.com/office/drawing/2014/main" id="{EFE50A81-79F7-828D-3AE0-63B332D0349B}"/>
                  </a:ext>
                </a:extLst>
              </p:cNvPr>
              <p:cNvSpPr txBox="1">
                <a:spLocks noChangeArrowheads="1"/>
              </p:cNvSpPr>
              <p:nvPr/>
            </p:nvSpPr>
            <p:spPr bwMode="auto">
              <a:xfrm>
                <a:off x="1506" y="3335"/>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Square-Crimp</a:t>
                </a:r>
              </a:p>
            </p:txBody>
          </p:sp>
        </p:grpSp>
        <p:grpSp>
          <p:nvGrpSpPr>
            <p:cNvPr id="13" name="Group 39">
              <a:extLst>
                <a:ext uri="{FF2B5EF4-FFF2-40B4-BE49-F238E27FC236}">
                  <a16:creationId xmlns:a16="http://schemas.microsoft.com/office/drawing/2014/main" id="{8234E532-6473-FA2C-D4D8-5ABE8636B4FF}"/>
                </a:ext>
              </a:extLst>
            </p:cNvPr>
            <p:cNvGrpSpPr>
              <a:grpSpLocks/>
            </p:cNvGrpSpPr>
            <p:nvPr/>
          </p:nvGrpSpPr>
          <p:grpSpPr bwMode="auto">
            <a:xfrm>
              <a:off x="5961352" y="2429078"/>
              <a:ext cx="2168525" cy="971550"/>
              <a:chOff x="2874" y="2795"/>
              <a:chExt cx="1366" cy="816"/>
            </a:xfrm>
          </p:grpSpPr>
          <p:pic>
            <p:nvPicPr>
              <p:cNvPr id="17" name="Picture 15" descr="vierkant-indent-crimp">
                <a:extLst>
                  <a:ext uri="{FF2B5EF4-FFF2-40B4-BE49-F238E27FC236}">
                    <a16:creationId xmlns:a16="http://schemas.microsoft.com/office/drawing/2014/main" id="{B3E5462E-2728-821C-21E2-7987EC91A5A4}"/>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79" y="2795"/>
                <a:ext cx="554"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51">
                <a:extLst>
                  <a:ext uri="{FF2B5EF4-FFF2-40B4-BE49-F238E27FC236}">
                    <a16:creationId xmlns:a16="http://schemas.microsoft.com/office/drawing/2014/main" id="{C4B5EE0A-44F6-7D19-1F83-D5258F756006}"/>
                  </a:ext>
                </a:extLst>
              </p:cNvPr>
              <p:cNvSpPr txBox="1">
                <a:spLocks noChangeArrowheads="1"/>
              </p:cNvSpPr>
              <p:nvPr/>
            </p:nvSpPr>
            <p:spPr bwMode="auto">
              <a:xfrm>
                <a:off x="2874" y="3327"/>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WM-Crimp</a:t>
                </a:r>
              </a:p>
            </p:txBody>
          </p:sp>
        </p:grpSp>
        <p:grpSp>
          <p:nvGrpSpPr>
            <p:cNvPr id="14" name="Group 42">
              <a:extLst>
                <a:ext uri="{FF2B5EF4-FFF2-40B4-BE49-F238E27FC236}">
                  <a16:creationId xmlns:a16="http://schemas.microsoft.com/office/drawing/2014/main" id="{D9609D76-2F3A-7BA6-3F04-A2B2F1F2E078}"/>
                </a:ext>
              </a:extLst>
            </p:cNvPr>
            <p:cNvGrpSpPr>
              <a:grpSpLocks/>
            </p:cNvGrpSpPr>
            <p:nvPr/>
          </p:nvGrpSpPr>
          <p:grpSpPr bwMode="auto">
            <a:xfrm>
              <a:off x="4791365" y="3599260"/>
              <a:ext cx="2168525" cy="971550"/>
              <a:chOff x="4234" y="2795"/>
              <a:chExt cx="1366" cy="816"/>
            </a:xfrm>
          </p:grpSpPr>
          <p:pic>
            <p:nvPicPr>
              <p:cNvPr id="15" name="Picture 10" descr="hex-crimp">
                <a:extLst>
                  <a:ext uri="{FF2B5EF4-FFF2-40B4-BE49-F238E27FC236}">
                    <a16:creationId xmlns:a16="http://schemas.microsoft.com/office/drawing/2014/main" id="{8B4FB33F-812D-0095-3B9E-2B1015B65931}"/>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94" y="2795"/>
                <a:ext cx="471" cy="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51">
                <a:extLst>
                  <a:ext uri="{FF2B5EF4-FFF2-40B4-BE49-F238E27FC236}">
                    <a16:creationId xmlns:a16="http://schemas.microsoft.com/office/drawing/2014/main" id="{248C7642-34CB-60E5-D655-5F2B6C8FB136}"/>
                  </a:ext>
                </a:extLst>
              </p:cNvPr>
              <p:cNvSpPr txBox="1">
                <a:spLocks noChangeArrowheads="1"/>
              </p:cNvSpPr>
              <p:nvPr/>
            </p:nvSpPr>
            <p:spPr bwMode="auto">
              <a:xfrm>
                <a:off x="4234" y="3327"/>
                <a:ext cx="1366"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eaLnBrk="1" hangingPunct="1"/>
                <a:r>
                  <a:rPr lang="de-DE" sz="1600" b="1">
                    <a:solidFill>
                      <a:schemeClr val="accent2"/>
                    </a:solidFill>
                  </a:rPr>
                  <a:t>HEX-Crimp</a:t>
                </a:r>
              </a:p>
            </p:txBody>
          </p:sp>
        </p:grpSp>
      </p:grpSp>
      <p:sp>
        <p:nvSpPr>
          <p:cNvPr id="31" name="Footer Placeholder 30">
            <a:extLst>
              <a:ext uri="{FF2B5EF4-FFF2-40B4-BE49-F238E27FC236}">
                <a16:creationId xmlns:a16="http://schemas.microsoft.com/office/drawing/2014/main" id="{A995A6E5-4A2B-0087-B44D-D99AE8383650}"/>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53973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Why use ferrules? </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29</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4" name="Inhalt">
            <a:extLst>
              <a:ext uri="{FF2B5EF4-FFF2-40B4-BE49-F238E27FC236}">
                <a16:creationId xmlns:a16="http://schemas.microsoft.com/office/drawing/2014/main" id="{2EE5743E-B980-A4E4-7040-01E75FF308B6}"/>
              </a:ext>
            </a:extLst>
          </p:cNvPr>
          <p:cNvSpPr>
            <a:spLocks noGrp="1"/>
          </p:cNvSpPr>
          <p:nvPr>
            <p:ph idx="15"/>
          </p:nvPr>
        </p:nvSpPr>
        <p:spPr>
          <a:xfrm>
            <a:off x="550872" y="1558440"/>
            <a:ext cx="7386551" cy="4247016"/>
          </a:xfrm>
        </p:spPr>
        <p:txBody>
          <a:bodyPr/>
          <a:lstStyle/>
          <a:p>
            <a:pPr marL="457200" indent="-457200">
              <a:spcBef>
                <a:spcPts val="0"/>
              </a:spcBef>
            </a:pPr>
            <a:r>
              <a:rPr lang="en-US" dirty="0">
                <a:latin typeface="Arial" panose="020B0604020202020204" pitchFamily="34" charset="0"/>
                <a:cs typeface="Arial" panose="020B0604020202020204" pitchFamily="34" charset="0"/>
              </a:rPr>
              <a:t>Solid Connection</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Strengthen stranded wire bundles, elimination of stray strands</a:t>
            </a:r>
          </a:p>
          <a:p>
            <a:pPr marL="457200" indent="-457200">
              <a:spcBef>
                <a:spcPts val="0"/>
              </a:spcBef>
            </a:pPr>
            <a:r>
              <a:rPr lang="en-US" dirty="0">
                <a:latin typeface="Arial" panose="020B0604020202020204" pitchFamily="34" charset="0"/>
                <a:cs typeface="Arial" panose="020B0604020202020204" pitchFamily="34" charset="0"/>
              </a:rPr>
              <a:t>Ease of installation</a:t>
            </a:r>
          </a:p>
          <a:p>
            <a:pPr marL="457200" indent="-457200">
              <a:spcBef>
                <a:spcPts val="0"/>
              </a:spcBef>
            </a:pPr>
            <a:r>
              <a:rPr lang="en-US" dirty="0">
                <a:latin typeface="Arial" panose="020B0604020202020204" pitchFamily="34" charset="0"/>
                <a:cs typeface="Arial" panose="020B0604020202020204" pitchFamily="34" charset="0"/>
              </a:rPr>
              <a:t>Long term electrical performance</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Airtight</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Corrosion resistance</a:t>
            </a:r>
          </a:p>
          <a:p>
            <a:pPr marL="457200" indent="-457200">
              <a:spcBef>
                <a:spcPts val="0"/>
              </a:spcBef>
            </a:pPr>
            <a:r>
              <a:rPr lang="en-US" dirty="0">
                <a:latin typeface="Arial" panose="020B0604020202020204" pitchFamily="34" charset="0"/>
                <a:cs typeface="Arial" panose="020B0604020202020204" pitchFamily="34" charset="0"/>
              </a:rPr>
              <a:t>Durability and Safety of the Connection</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Vibration resistance</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Avoidance of higher temperatures, short-circuits, and in some cases arc flashes</a:t>
            </a:r>
          </a:p>
          <a:p>
            <a:pPr marL="914400" lvl="1" indent="-457200">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Shape and integrity retention with removal and reinsertion</a:t>
            </a:r>
          </a:p>
          <a:p>
            <a:pPr marL="457200" indent="-457200">
              <a:spcBef>
                <a:spcPts val="0"/>
              </a:spcBef>
            </a:pPr>
            <a:r>
              <a:rPr lang="en-US" dirty="0">
                <a:latin typeface="Arial" panose="020B0604020202020204" pitchFamily="34" charset="0"/>
                <a:cs typeface="Arial" panose="020B0604020202020204" pitchFamily="34" charset="0"/>
              </a:rPr>
              <a:t>Twin ferrules allow simultaneous insertion of two wire ends</a:t>
            </a:r>
          </a:p>
          <a:p>
            <a:pPr marL="457200" indent="-457200">
              <a:spcBef>
                <a:spcPts val="0"/>
              </a:spcBef>
            </a:pPr>
            <a:r>
              <a:rPr lang="en-US" dirty="0">
                <a:latin typeface="Arial" panose="020B0604020202020204" pitchFamily="34" charset="0"/>
                <a:cs typeface="Arial" panose="020B0604020202020204" pitchFamily="34" charset="0"/>
              </a:rPr>
              <a:t>Required in Europe for CE certification</a:t>
            </a:r>
          </a:p>
          <a:p>
            <a:pPr marL="457200" indent="-457200">
              <a:spcBef>
                <a:spcPts val="0"/>
              </a:spcBef>
            </a:pPr>
            <a:r>
              <a:rPr lang="en-US" dirty="0">
                <a:latin typeface="Arial" panose="020B0604020202020204" pitchFamily="34" charset="0"/>
                <a:cs typeface="Arial" panose="020B0604020202020204" pitchFamily="34" charset="0"/>
              </a:rPr>
              <a:t>High Quality, carefully designed and built panel</a:t>
            </a:r>
          </a:p>
          <a:p>
            <a:pPr marL="914400" lvl="1" indent="-457200">
              <a:spcBef>
                <a:spcPts val="0"/>
              </a:spcBef>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6064BE12-419D-D7A7-63B1-882C243F1D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29047" y="644253"/>
            <a:ext cx="1909518" cy="1499062"/>
          </a:xfrm>
          <a:prstGeom prst="rect">
            <a:avLst/>
          </a:prstGeom>
        </p:spPr>
      </p:pic>
      <p:pic>
        <p:nvPicPr>
          <p:cNvPr id="6" name="Picture 1">
            <a:extLst>
              <a:ext uri="{FF2B5EF4-FFF2-40B4-BE49-F238E27FC236}">
                <a16:creationId xmlns:a16="http://schemas.microsoft.com/office/drawing/2014/main" id="{5F73347A-9724-BC67-C37E-C3159712612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174"/>
          <a:stretch/>
        </p:blipFill>
        <p:spPr bwMode="auto">
          <a:xfrm>
            <a:off x="10424253" y="583822"/>
            <a:ext cx="1399795" cy="1745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F698E12-1EDF-98E8-2FBE-AC6237F0049E}"/>
              </a:ext>
            </a:extLst>
          </p:cNvPr>
          <p:cNvSpPr txBox="1"/>
          <p:nvPr/>
        </p:nvSpPr>
        <p:spPr>
          <a:xfrm>
            <a:off x="7825807" y="2181171"/>
            <a:ext cx="2315997" cy="646331"/>
          </a:xfrm>
          <a:prstGeom prst="rect">
            <a:avLst/>
          </a:prstGeom>
          <a:noFill/>
        </p:spPr>
        <p:txBody>
          <a:bodyPr wrap="square" rtlCol="0">
            <a:spAutoFit/>
          </a:bodyPr>
          <a:lstStyle/>
          <a:p>
            <a:pPr algn="ctr"/>
            <a:r>
              <a:rPr lang="en-US" sz="1800" dirty="0"/>
              <a:t>Reeled ferrules for the CF3000</a:t>
            </a:r>
          </a:p>
        </p:txBody>
      </p:sp>
      <p:sp>
        <p:nvSpPr>
          <p:cNvPr id="10" name="TextBox 9">
            <a:extLst>
              <a:ext uri="{FF2B5EF4-FFF2-40B4-BE49-F238E27FC236}">
                <a16:creationId xmlns:a16="http://schemas.microsoft.com/office/drawing/2014/main" id="{EFD81FA7-3E42-1B54-26B6-EF9FE79E9869}"/>
              </a:ext>
            </a:extLst>
          </p:cNvPr>
          <p:cNvSpPr txBox="1"/>
          <p:nvPr/>
        </p:nvSpPr>
        <p:spPr>
          <a:xfrm>
            <a:off x="10105093" y="2403651"/>
            <a:ext cx="1718955" cy="646331"/>
          </a:xfrm>
          <a:prstGeom prst="rect">
            <a:avLst/>
          </a:prstGeom>
          <a:noFill/>
        </p:spPr>
        <p:txBody>
          <a:bodyPr wrap="square" rtlCol="0">
            <a:spAutoFit/>
          </a:bodyPr>
          <a:lstStyle/>
          <a:p>
            <a:pPr algn="ctr"/>
            <a:r>
              <a:rPr lang="en-US" sz="1800" dirty="0"/>
              <a:t>Twin (double) ferrules</a:t>
            </a:r>
          </a:p>
        </p:txBody>
      </p:sp>
      <p:pic>
        <p:nvPicPr>
          <p:cNvPr id="12" name="Picture 11">
            <a:extLst>
              <a:ext uri="{FF2B5EF4-FFF2-40B4-BE49-F238E27FC236}">
                <a16:creationId xmlns:a16="http://schemas.microsoft.com/office/drawing/2014/main" id="{11236BFD-0931-C8B9-AA9B-F5F9FDD62E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1780" y="3429000"/>
            <a:ext cx="2862383" cy="2247105"/>
          </a:xfrm>
          <a:prstGeom prst="rect">
            <a:avLst/>
          </a:prstGeom>
        </p:spPr>
      </p:pic>
      <p:pic>
        <p:nvPicPr>
          <p:cNvPr id="11" name="Picture 10">
            <a:extLst>
              <a:ext uri="{FF2B5EF4-FFF2-40B4-BE49-F238E27FC236}">
                <a16:creationId xmlns:a16="http://schemas.microsoft.com/office/drawing/2014/main" id="{00B55408-A316-44B3-AA19-03868EDCF04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5568" r="25424"/>
          <a:stretch/>
        </p:blipFill>
        <p:spPr>
          <a:xfrm rot="3069546">
            <a:off x="8309420" y="2705632"/>
            <a:ext cx="1061510" cy="2059201"/>
          </a:xfrm>
          <a:prstGeom prst="rect">
            <a:avLst/>
          </a:prstGeom>
        </p:spPr>
      </p:pic>
      <p:sp>
        <p:nvSpPr>
          <p:cNvPr id="13" name="TextBox 12">
            <a:extLst>
              <a:ext uri="{FF2B5EF4-FFF2-40B4-BE49-F238E27FC236}">
                <a16:creationId xmlns:a16="http://schemas.microsoft.com/office/drawing/2014/main" id="{5B354232-CE1F-C78F-4EE2-1BED88888250}"/>
              </a:ext>
            </a:extLst>
          </p:cNvPr>
          <p:cNvSpPr txBox="1"/>
          <p:nvPr/>
        </p:nvSpPr>
        <p:spPr>
          <a:xfrm>
            <a:off x="7937423" y="4552552"/>
            <a:ext cx="1468273" cy="369332"/>
          </a:xfrm>
          <a:prstGeom prst="rect">
            <a:avLst/>
          </a:prstGeom>
          <a:noFill/>
        </p:spPr>
        <p:txBody>
          <a:bodyPr wrap="square" rtlCol="0">
            <a:spAutoFit/>
          </a:bodyPr>
          <a:lstStyle/>
          <a:p>
            <a:pPr algn="ctr"/>
            <a:r>
              <a:rPr lang="en-US" sz="1800" dirty="0"/>
              <a:t>Ferrule</a:t>
            </a:r>
            <a:r>
              <a:rPr lang="en-US" sz="1800" b="1" dirty="0"/>
              <a:t> </a:t>
            </a:r>
            <a:r>
              <a:rPr lang="en-US" sz="1800" dirty="0"/>
              <a:t>kits</a:t>
            </a:r>
          </a:p>
        </p:txBody>
      </p:sp>
      <p:sp>
        <p:nvSpPr>
          <p:cNvPr id="14" name="Footer Placeholder 13">
            <a:extLst>
              <a:ext uri="{FF2B5EF4-FFF2-40B4-BE49-F238E27FC236}">
                <a16:creationId xmlns:a16="http://schemas.microsoft.com/office/drawing/2014/main" id="{562E6CEA-1EDB-E8A8-6A1D-0773ED15C710}"/>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71264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956CC09-3440-420F-8672-36E5CC6C95F0}"/>
              </a:ext>
            </a:extLst>
          </p:cNvPr>
          <p:cNvSpPr>
            <a:spLocks noGrp="1"/>
          </p:cNvSpPr>
          <p:nvPr>
            <p:ph type="sldNum" sz="quarter" idx="18"/>
          </p:nvPr>
        </p:nvSpPr>
        <p:spPr/>
        <p:txBody>
          <a:bodyPr/>
          <a:lstStyle/>
          <a:p>
            <a:fld id="{B227C86F-CC2D-492F-A88C-C748186E73FB}" type="slidenum">
              <a:rPr lang="en-GB" smtClean="0"/>
              <a:pPr/>
              <a:t>3</a:t>
            </a:fld>
            <a:endParaRPr lang="en-GB" dirty="0"/>
          </a:p>
        </p:txBody>
      </p:sp>
      <p:sp>
        <p:nvSpPr>
          <p:cNvPr id="11" name="Textplatzhalter 10">
            <a:extLst>
              <a:ext uri="{FF2B5EF4-FFF2-40B4-BE49-F238E27FC236}">
                <a16:creationId xmlns:a16="http://schemas.microsoft.com/office/drawing/2014/main" id="{1BF2946A-C194-461C-86C1-2C1935888605}"/>
              </a:ext>
            </a:extLst>
          </p:cNvPr>
          <p:cNvSpPr>
            <a:spLocks noGrp="1"/>
          </p:cNvSpPr>
          <p:nvPr>
            <p:ph type="body" sz="quarter" idx="16"/>
          </p:nvPr>
        </p:nvSpPr>
        <p:spPr/>
        <p:txBody>
          <a:bodyPr/>
          <a:lstStyle/>
          <a:p>
            <a:r>
              <a:rPr lang="de-DE" dirty="0"/>
              <a:t>TOOL fox: The right tool for every application</a:t>
            </a:r>
          </a:p>
        </p:txBody>
      </p:sp>
      <p:sp>
        <p:nvSpPr>
          <p:cNvPr id="2" name="Textplatzhalter 8">
            <a:extLst>
              <a:ext uri="{FF2B5EF4-FFF2-40B4-BE49-F238E27FC236}">
                <a16:creationId xmlns:a16="http://schemas.microsoft.com/office/drawing/2014/main" id="{29138796-8B70-FC89-38A6-DB5C2E747610}"/>
              </a:ext>
            </a:extLst>
          </p:cNvPr>
          <p:cNvSpPr>
            <a:spLocks noGrp="1"/>
          </p:cNvSpPr>
          <p:nvPr>
            <p:ph type="body" sz="quarter" idx="19"/>
          </p:nvPr>
        </p:nvSpPr>
        <p:spPr>
          <a:xfrm>
            <a:off x="393616" y="1557338"/>
            <a:ext cx="7162215" cy="4246562"/>
          </a:xfrm>
        </p:spPr>
        <p:txBody>
          <a:bodyPr/>
          <a:lstStyle/>
          <a:p>
            <a:r>
              <a:rPr lang="en-US" dirty="0"/>
              <a:t>Hand Tools</a:t>
            </a:r>
          </a:p>
          <a:p>
            <a:pPr lvl="1"/>
            <a:r>
              <a:rPr lang="en-US" dirty="0"/>
              <a:t>CUTFOX cutting tools</a:t>
            </a:r>
          </a:p>
          <a:p>
            <a:pPr lvl="1"/>
            <a:r>
              <a:rPr lang="en-US" dirty="0"/>
              <a:t>UNIFOX universal cutters &amp; pliers</a:t>
            </a:r>
          </a:p>
          <a:p>
            <a:pPr lvl="1"/>
            <a:r>
              <a:rPr lang="en-US" dirty="0"/>
              <a:t>WIREFOX stripping tools</a:t>
            </a:r>
          </a:p>
          <a:p>
            <a:pPr lvl="1"/>
            <a:r>
              <a:rPr lang="en-US" dirty="0"/>
              <a:t>CRIMPFOX crimping tools</a:t>
            </a:r>
          </a:p>
          <a:p>
            <a:pPr lvl="1"/>
            <a:r>
              <a:rPr lang="en-US" dirty="0"/>
              <a:t>SCREWFOX screwdrivers</a:t>
            </a:r>
          </a:p>
          <a:p>
            <a:pPr lvl="1"/>
            <a:r>
              <a:rPr lang="en-US" dirty="0"/>
              <a:t>MICROFOX electronic cutters &amp; pliers</a:t>
            </a:r>
          </a:p>
          <a:p>
            <a:r>
              <a:rPr lang="en-US" dirty="0"/>
              <a:t>Tool &amp; Crimp Sets</a:t>
            </a:r>
          </a:p>
          <a:p>
            <a:r>
              <a:rPr lang="en-US" dirty="0"/>
              <a:t>Semi-Automatics</a:t>
            </a:r>
          </a:p>
        </p:txBody>
      </p:sp>
      <p:pic>
        <p:nvPicPr>
          <p:cNvPr id="3" name="Picture Placeholder 15">
            <a:extLst>
              <a:ext uri="{FF2B5EF4-FFF2-40B4-BE49-F238E27FC236}">
                <a16:creationId xmlns:a16="http://schemas.microsoft.com/office/drawing/2014/main" id="{8B9987CA-76EB-A3AB-D443-FC67043AB10D}"/>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l="24057" r="24057"/>
          <a:stretch>
            <a:fillRect/>
          </a:stretch>
        </p:blipFill>
        <p:spPr>
          <a:xfrm>
            <a:off x="8039100" y="1557338"/>
            <a:ext cx="3600450" cy="4246562"/>
          </a:xfrm>
        </p:spPr>
      </p:pic>
      <p:cxnSp>
        <p:nvCxnSpPr>
          <p:cNvPr id="7" name="Straight Connector 6">
            <a:extLst>
              <a:ext uri="{FF2B5EF4-FFF2-40B4-BE49-F238E27FC236}">
                <a16:creationId xmlns:a16="http://schemas.microsoft.com/office/drawing/2014/main" id="{6B5FB386-7FBE-D415-6F21-3B05CE8AAA0E}"/>
              </a:ext>
            </a:extLst>
          </p:cNvPr>
          <p:cNvCxnSpPr/>
          <p:nvPr/>
        </p:nvCxnSpPr>
        <p:spPr bwMode="auto">
          <a:xfrm>
            <a:off x="393616" y="1557255"/>
            <a:ext cx="7502609" cy="83"/>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a:extLst>
              <a:ext uri="{FF2B5EF4-FFF2-40B4-BE49-F238E27FC236}">
                <a16:creationId xmlns:a16="http://schemas.microsoft.com/office/drawing/2014/main" id="{1B8CB6F9-8665-08AF-46B2-3147DDF70C39}"/>
              </a:ext>
            </a:extLst>
          </p:cNvPr>
          <p:cNvCxnSpPr/>
          <p:nvPr/>
        </p:nvCxnSpPr>
        <p:spPr bwMode="auto">
          <a:xfrm>
            <a:off x="393615" y="5803900"/>
            <a:ext cx="7502609" cy="83"/>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Picture 15" descr="A picture containing text, clipart&#10;&#10;Description automatically generated">
            <a:extLst>
              <a:ext uri="{FF2B5EF4-FFF2-40B4-BE49-F238E27FC236}">
                <a16:creationId xmlns:a16="http://schemas.microsoft.com/office/drawing/2014/main" id="{0FB596ED-8B91-D30C-675C-41CAA22A823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4972" y="5855279"/>
            <a:ext cx="2100228" cy="673150"/>
          </a:xfrm>
          <a:prstGeom prst="rect">
            <a:avLst/>
          </a:prstGeom>
        </p:spPr>
      </p:pic>
      <p:sp>
        <p:nvSpPr>
          <p:cNvPr id="4" name="Footer Placeholder 3">
            <a:extLst>
              <a:ext uri="{FF2B5EF4-FFF2-40B4-BE49-F238E27FC236}">
                <a16:creationId xmlns:a16="http://schemas.microsoft.com/office/drawing/2014/main" id="{8CE3BDAB-8BD4-F7F7-1F32-AA3CF3C1E461}"/>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41389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RIMPFOX: UL on Ferrules &amp;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0</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4" name="Content Placeholder 5">
            <a:extLst>
              <a:ext uri="{FF2B5EF4-FFF2-40B4-BE49-F238E27FC236}">
                <a16:creationId xmlns:a16="http://schemas.microsoft.com/office/drawing/2014/main" id="{CBC6DF0E-610E-B691-1457-1C6F38EF82A2}"/>
              </a:ext>
            </a:extLst>
          </p:cNvPr>
          <p:cNvSpPr txBox="1">
            <a:spLocks/>
          </p:cNvSpPr>
          <p:nvPr/>
        </p:nvSpPr>
        <p:spPr bwMode="gray">
          <a:xfrm>
            <a:off x="632343" y="1864310"/>
            <a:ext cx="4773723" cy="4314547"/>
          </a:xfrm>
          <a:prstGeom prst="rect">
            <a:avLst/>
          </a:prstGeom>
          <a:noFill/>
        </p:spPr>
        <p:txBody>
          <a:bodyPr vert="horz" lIns="0" tIns="0" rIns="0" bIns="0" rtlCol="0" anchor="ctr" anchorCtr="0">
            <a:noAutofit/>
          </a:bodyPr>
          <a:lstStyle>
            <a:lvl1pPr marL="0" indent="0" algn="l" defTabSz="914430" rtl="0" eaLnBrk="1" latinLnBrk="0" hangingPunct="1">
              <a:spcBef>
                <a:spcPts val="1000"/>
              </a:spcBef>
              <a:spcAft>
                <a:spcPts val="0"/>
              </a:spcAft>
              <a:buClr>
                <a:schemeClr val="accent2"/>
              </a:buClr>
              <a:buFontTx/>
              <a:buNone/>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spcBef>
                <a:spcPts val="600"/>
              </a:spcBef>
              <a:buFont typeface="Wingdings" panose="05000000000000000000" pitchFamily="2" charset="2"/>
              <a:buChar char="§"/>
            </a:pPr>
            <a:r>
              <a:rPr lang="en-US" dirty="0"/>
              <a:t>UL listed ferrules w/ tools</a:t>
            </a:r>
          </a:p>
          <a:p>
            <a:pPr lvl="1">
              <a:spcBef>
                <a:spcPts val="600"/>
              </a:spcBef>
            </a:pPr>
            <a:r>
              <a:rPr lang="en-US" dirty="0"/>
              <a:t>UL number E488001 for ferrule standard UL 486F</a:t>
            </a:r>
          </a:p>
          <a:p>
            <a:pPr marL="285750" indent="-285750">
              <a:spcBef>
                <a:spcPts val="600"/>
              </a:spcBef>
              <a:buFont typeface="Wingdings" panose="05000000000000000000" pitchFamily="2" charset="2"/>
              <a:buChar char="§"/>
            </a:pPr>
            <a:r>
              <a:rPr lang="en-US" dirty="0"/>
              <a:t>Ferrules:</a:t>
            </a:r>
          </a:p>
          <a:p>
            <a:pPr lvl="1">
              <a:spcBef>
                <a:spcPts val="600"/>
              </a:spcBef>
            </a:pPr>
            <a:r>
              <a:rPr lang="en-US" dirty="0"/>
              <a:t>Non-insulated ferrules</a:t>
            </a:r>
          </a:p>
          <a:p>
            <a:pPr lvl="1">
              <a:spcBef>
                <a:spcPts val="600"/>
              </a:spcBef>
            </a:pPr>
            <a:r>
              <a:rPr lang="en-US" dirty="0"/>
              <a:t>Insulated ferrules, single, strips (CRIMPFOX 4in1) and reeled (CF3000)</a:t>
            </a:r>
          </a:p>
          <a:p>
            <a:pPr lvl="1">
              <a:spcBef>
                <a:spcPts val="600"/>
              </a:spcBef>
            </a:pPr>
            <a:r>
              <a:rPr lang="en-US" dirty="0"/>
              <a:t>Insulated twin ferrules</a:t>
            </a:r>
          </a:p>
          <a:p>
            <a:pPr marL="285750" indent="-285750">
              <a:spcBef>
                <a:spcPts val="600"/>
              </a:spcBef>
              <a:buFont typeface="Wingdings" panose="05000000000000000000" pitchFamily="2" charset="2"/>
              <a:buChar char="§"/>
            </a:pPr>
            <a:r>
              <a:rPr lang="en-US" dirty="0"/>
              <a:t>Includes all hand ferrule crimpers</a:t>
            </a:r>
          </a:p>
          <a:p>
            <a:pPr marL="285750" indent="-285750">
              <a:spcBef>
                <a:spcPts val="600"/>
              </a:spcBef>
              <a:buFont typeface="Wingdings" panose="05000000000000000000" pitchFamily="2" charset="2"/>
              <a:buChar char="§"/>
            </a:pPr>
            <a:r>
              <a:rPr lang="en-US" dirty="0"/>
              <a:t>Includes the CF3000, CF1000 and the CF500</a:t>
            </a:r>
          </a:p>
          <a:p>
            <a:pPr marL="285750" indent="-285750">
              <a:spcBef>
                <a:spcPts val="600"/>
              </a:spcBef>
              <a:buFont typeface="Wingdings" panose="05000000000000000000" pitchFamily="2" charset="2"/>
              <a:buChar char="§"/>
            </a:pPr>
            <a:r>
              <a:rPr lang="en-US" dirty="0"/>
              <a:t>Zap tools are </a:t>
            </a:r>
            <a:r>
              <a:rPr lang="en-US" dirty="0">
                <a:solidFill>
                  <a:srgbClr val="FF0000"/>
                </a:solidFill>
              </a:rPr>
              <a:t>NOT</a:t>
            </a:r>
            <a:r>
              <a:rPr lang="en-US" dirty="0"/>
              <a:t> included</a:t>
            </a:r>
          </a:p>
          <a:p>
            <a:pPr>
              <a:spcBef>
                <a:spcPts val="600"/>
              </a:spcBef>
            </a:pPr>
            <a:endParaRPr lang="en-US" dirty="0"/>
          </a:p>
        </p:txBody>
      </p:sp>
      <p:pic>
        <p:nvPicPr>
          <p:cNvPr id="5" name="Picture 4">
            <a:extLst>
              <a:ext uri="{FF2B5EF4-FFF2-40B4-BE49-F238E27FC236}">
                <a16:creationId xmlns:a16="http://schemas.microsoft.com/office/drawing/2014/main" id="{8CCAC4A4-DF38-7189-07BB-F0114C0F0F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96620" y="1562866"/>
            <a:ext cx="1778632" cy="409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a:extLst>
              <a:ext uri="{FF2B5EF4-FFF2-40B4-BE49-F238E27FC236}">
                <a16:creationId xmlns:a16="http://schemas.microsoft.com/office/drawing/2014/main" id="{305FBB2B-71F5-FBFD-E477-6331F908007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98676" y="1515848"/>
            <a:ext cx="1778632" cy="409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97" descr="Aderendhülse">
            <a:extLst>
              <a:ext uri="{FF2B5EF4-FFF2-40B4-BE49-F238E27FC236}">
                <a16:creationId xmlns:a16="http://schemas.microsoft.com/office/drawing/2014/main" id="{5C290F9F-84D0-C454-7788-4BD3F097B935}"/>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068810" y="2380732"/>
            <a:ext cx="1161568" cy="117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A03CCEE5-8CD6-2A37-923A-C18946668C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94835" y="3867799"/>
            <a:ext cx="1909518" cy="1499062"/>
          </a:xfrm>
          <a:prstGeom prst="rect">
            <a:avLst/>
          </a:prstGeom>
        </p:spPr>
      </p:pic>
      <p:sp>
        <p:nvSpPr>
          <p:cNvPr id="11" name="Plus Sign 10">
            <a:extLst>
              <a:ext uri="{FF2B5EF4-FFF2-40B4-BE49-F238E27FC236}">
                <a16:creationId xmlns:a16="http://schemas.microsoft.com/office/drawing/2014/main" id="{EFC5298B-2751-A531-F74D-C4FAC65A66AB}"/>
              </a:ext>
            </a:extLst>
          </p:cNvPr>
          <p:cNvSpPr/>
          <p:nvPr/>
        </p:nvSpPr>
        <p:spPr>
          <a:xfrm>
            <a:off x="7555710" y="3671449"/>
            <a:ext cx="427265" cy="350134"/>
          </a:xfrm>
          <a:prstGeom prst="mathPlus">
            <a:avLst/>
          </a:prstGeom>
          <a:solidFill>
            <a:schemeClr val="accent2">
              <a:lumMod val="60000"/>
              <a:lumOff val="40000"/>
            </a:schemeClr>
          </a:solidFill>
          <a:ln>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solidFill>
                <a:schemeClr val="accent2">
                  <a:lumMod val="60000"/>
                  <a:lumOff val="40000"/>
                </a:schemeClr>
              </a:solidFill>
            </a:endParaRPr>
          </a:p>
        </p:txBody>
      </p:sp>
      <p:pic>
        <p:nvPicPr>
          <p:cNvPr id="13" name="Picture 12">
            <a:extLst>
              <a:ext uri="{FF2B5EF4-FFF2-40B4-BE49-F238E27FC236}">
                <a16:creationId xmlns:a16="http://schemas.microsoft.com/office/drawing/2014/main" id="{E48F2D63-8720-8C3E-0E83-BEA17897E9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18249" y="3505882"/>
            <a:ext cx="2123660" cy="2222897"/>
          </a:xfrm>
          <a:prstGeom prst="rect">
            <a:avLst/>
          </a:prstGeom>
        </p:spPr>
      </p:pic>
      <p:sp>
        <p:nvSpPr>
          <p:cNvPr id="14" name="Equals 13">
            <a:extLst>
              <a:ext uri="{FF2B5EF4-FFF2-40B4-BE49-F238E27FC236}">
                <a16:creationId xmlns:a16="http://schemas.microsoft.com/office/drawing/2014/main" id="{6D2EF499-6C9A-713D-DB3F-6186FDA72162}"/>
              </a:ext>
            </a:extLst>
          </p:cNvPr>
          <p:cNvSpPr/>
          <p:nvPr/>
        </p:nvSpPr>
        <p:spPr>
          <a:xfrm>
            <a:off x="10050934" y="3695413"/>
            <a:ext cx="341441" cy="261742"/>
          </a:xfrm>
          <a:prstGeom prst="mathEqual">
            <a:avLst/>
          </a:prstGeom>
          <a:solidFill>
            <a:schemeClr val="accent2">
              <a:lumMod val="60000"/>
              <a:lumOff val="40000"/>
            </a:schemeClr>
          </a:solidFill>
          <a:ln>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800" dirty="0"/>
          </a:p>
        </p:txBody>
      </p:sp>
      <p:pic>
        <p:nvPicPr>
          <p:cNvPr id="15" name="Picture 3">
            <a:extLst>
              <a:ext uri="{FF2B5EF4-FFF2-40B4-BE49-F238E27FC236}">
                <a16:creationId xmlns:a16="http://schemas.microsoft.com/office/drawing/2014/main" id="{4C9A4CC9-C27F-DFAA-F4C7-084BC21B5DC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24057" y="2875981"/>
            <a:ext cx="1480407" cy="1307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03F9DAA6-0E34-EC64-868E-2D776C4A941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80386" y="2090217"/>
            <a:ext cx="1480407" cy="1510796"/>
          </a:xfrm>
          <a:prstGeom prst="rect">
            <a:avLst/>
          </a:prstGeom>
        </p:spPr>
      </p:pic>
      <p:sp>
        <p:nvSpPr>
          <p:cNvPr id="16" name="Footer Placeholder 15">
            <a:extLst>
              <a:ext uri="{FF2B5EF4-FFF2-40B4-BE49-F238E27FC236}">
                <a16:creationId xmlns:a16="http://schemas.microsoft.com/office/drawing/2014/main" id="{DB533CBA-594D-CE56-B1C9-32C8BB9B5ACF}"/>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421565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FABCA5B-7877-643F-8B44-9719B8F4BC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9484058">
            <a:off x="2629677" y="3599348"/>
            <a:ext cx="2469347" cy="1938553"/>
          </a:xfrm>
          <a:prstGeom prst="rect">
            <a:avLst/>
          </a:prstGeom>
        </p:spPr>
      </p:pic>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SCREWFOX Product Line</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1</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4" name="Picture 3">
            <a:extLst>
              <a:ext uri="{FF2B5EF4-FFF2-40B4-BE49-F238E27FC236}">
                <a16:creationId xmlns:a16="http://schemas.microsoft.com/office/drawing/2014/main" id="{2C46A117-66E3-DE03-AF23-5FABD0251148}"/>
              </a:ext>
            </a:extLst>
          </p:cNvPr>
          <p:cNvPicPr>
            <a:picLocks noChangeAspect="1"/>
          </p:cNvPicPr>
          <p:nvPr/>
        </p:nvPicPr>
        <p:blipFill rotWithShape="1">
          <a:blip r:embed="rId4">
            <a:extLst>
              <a:ext uri="{28A0092B-C50C-407E-A947-70E740481C1C}">
                <a14:useLocalDpi xmlns:a14="http://schemas.microsoft.com/office/drawing/2010/main" val="0"/>
              </a:ext>
            </a:extLst>
          </a:blip>
          <a:srcRect l="-697" t="39844" r="697" b="-3314"/>
          <a:stretch/>
        </p:blipFill>
        <p:spPr>
          <a:xfrm>
            <a:off x="1175827" y="1801446"/>
            <a:ext cx="2302136" cy="1279725"/>
          </a:xfrm>
          <a:prstGeom prst="rect">
            <a:avLst/>
          </a:prstGeom>
        </p:spPr>
      </p:pic>
      <p:sp>
        <p:nvSpPr>
          <p:cNvPr id="5" name="TextBox 5">
            <a:extLst>
              <a:ext uri="{FF2B5EF4-FFF2-40B4-BE49-F238E27FC236}">
                <a16:creationId xmlns:a16="http://schemas.microsoft.com/office/drawing/2014/main" id="{D434DACD-9363-C988-3A92-58E334ABEF15}"/>
              </a:ext>
            </a:extLst>
          </p:cNvPr>
          <p:cNvSpPr txBox="1">
            <a:spLocks noChangeArrowheads="1"/>
          </p:cNvSpPr>
          <p:nvPr/>
        </p:nvSpPr>
        <p:spPr bwMode="auto">
          <a:xfrm>
            <a:off x="579569" y="3063454"/>
            <a:ext cx="402148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r>
              <a:rPr lang="en-US" sz="2000" dirty="0"/>
              <a:t>Extensive assortment of insulated and non-insulated screwdrivers</a:t>
            </a:r>
          </a:p>
        </p:txBody>
      </p:sp>
      <p:pic>
        <p:nvPicPr>
          <p:cNvPr id="11" name="Picture 10">
            <a:extLst>
              <a:ext uri="{FF2B5EF4-FFF2-40B4-BE49-F238E27FC236}">
                <a16:creationId xmlns:a16="http://schemas.microsoft.com/office/drawing/2014/main" id="{8EACB77B-3E21-2088-C4C1-E9B73F741A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96263" y="194883"/>
            <a:ext cx="2308314" cy="2416180"/>
          </a:xfrm>
          <a:prstGeom prst="rect">
            <a:avLst/>
          </a:prstGeom>
        </p:spPr>
      </p:pic>
      <p:sp>
        <p:nvSpPr>
          <p:cNvPr id="12" name="TextBox 8">
            <a:extLst>
              <a:ext uri="{FF2B5EF4-FFF2-40B4-BE49-F238E27FC236}">
                <a16:creationId xmlns:a16="http://schemas.microsoft.com/office/drawing/2014/main" id="{220E5126-EC86-A73E-79FC-3E16AC1CB3F3}"/>
              </a:ext>
            </a:extLst>
          </p:cNvPr>
          <p:cNvSpPr txBox="1">
            <a:spLocks noChangeArrowheads="1"/>
          </p:cNvSpPr>
          <p:nvPr/>
        </p:nvSpPr>
        <p:spPr bwMode="auto">
          <a:xfrm>
            <a:off x="9396263" y="2509347"/>
            <a:ext cx="21904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a:r>
              <a:rPr lang="en-US" sz="2000" dirty="0"/>
              <a:t>Allen Keys</a:t>
            </a:r>
          </a:p>
        </p:txBody>
      </p:sp>
      <p:pic>
        <p:nvPicPr>
          <p:cNvPr id="13" name="Picture 12">
            <a:extLst>
              <a:ext uri="{FF2B5EF4-FFF2-40B4-BE49-F238E27FC236}">
                <a16:creationId xmlns:a16="http://schemas.microsoft.com/office/drawing/2014/main" id="{D49EB1D4-B113-4E14-9DD6-543E6593666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460" y="3945711"/>
            <a:ext cx="1284351" cy="1131528"/>
          </a:xfrm>
          <a:prstGeom prst="rect">
            <a:avLst/>
          </a:prstGeom>
        </p:spPr>
      </p:pic>
      <p:pic>
        <p:nvPicPr>
          <p:cNvPr id="14" name="Picture 13">
            <a:extLst>
              <a:ext uri="{FF2B5EF4-FFF2-40B4-BE49-F238E27FC236}">
                <a16:creationId xmlns:a16="http://schemas.microsoft.com/office/drawing/2014/main" id="{966C64A7-6B1C-163D-EB9B-0C4E24A7EB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07630" y="3938303"/>
            <a:ext cx="1365361" cy="1158593"/>
          </a:xfrm>
          <a:prstGeom prst="rect">
            <a:avLst/>
          </a:prstGeom>
        </p:spPr>
      </p:pic>
      <p:sp>
        <p:nvSpPr>
          <p:cNvPr id="16" name="TextBox 6">
            <a:extLst>
              <a:ext uri="{FF2B5EF4-FFF2-40B4-BE49-F238E27FC236}">
                <a16:creationId xmlns:a16="http://schemas.microsoft.com/office/drawing/2014/main" id="{8D4EA755-FF72-87D7-310B-29F1F6EACD74}"/>
              </a:ext>
            </a:extLst>
          </p:cNvPr>
          <p:cNvSpPr txBox="1">
            <a:spLocks noChangeArrowheads="1"/>
          </p:cNvSpPr>
          <p:nvPr/>
        </p:nvSpPr>
        <p:spPr bwMode="auto">
          <a:xfrm>
            <a:off x="1263848" y="5207135"/>
            <a:ext cx="221411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a:r>
              <a:rPr lang="en-US" sz="2000" dirty="0"/>
              <a:t>Universal Control Cabinet Keys</a:t>
            </a:r>
          </a:p>
        </p:txBody>
      </p:sp>
      <p:pic>
        <p:nvPicPr>
          <p:cNvPr id="17" name="Picture 16">
            <a:extLst>
              <a:ext uri="{FF2B5EF4-FFF2-40B4-BE49-F238E27FC236}">
                <a16:creationId xmlns:a16="http://schemas.microsoft.com/office/drawing/2014/main" id="{D446D43D-2AF1-A9C6-3B43-2190149B96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0346" y="2989527"/>
            <a:ext cx="2302136" cy="2409713"/>
          </a:xfrm>
          <a:prstGeom prst="rect">
            <a:avLst/>
          </a:prstGeom>
        </p:spPr>
      </p:pic>
      <p:pic>
        <p:nvPicPr>
          <p:cNvPr id="18" name="Picture 17">
            <a:extLst>
              <a:ext uri="{FF2B5EF4-FFF2-40B4-BE49-F238E27FC236}">
                <a16:creationId xmlns:a16="http://schemas.microsoft.com/office/drawing/2014/main" id="{DC7E8C62-D507-169B-0CB2-935947DDEFB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95321" y="2980001"/>
            <a:ext cx="2302136" cy="2409713"/>
          </a:xfrm>
          <a:prstGeom prst="rect">
            <a:avLst/>
          </a:prstGeom>
        </p:spPr>
      </p:pic>
      <p:sp>
        <p:nvSpPr>
          <p:cNvPr id="19" name="TextBox 8">
            <a:extLst>
              <a:ext uri="{FF2B5EF4-FFF2-40B4-BE49-F238E27FC236}">
                <a16:creationId xmlns:a16="http://schemas.microsoft.com/office/drawing/2014/main" id="{EC6C8AB9-F63F-AD84-77B1-4BC536647935}"/>
              </a:ext>
            </a:extLst>
          </p:cNvPr>
          <p:cNvSpPr txBox="1">
            <a:spLocks noChangeArrowheads="1"/>
          </p:cNvSpPr>
          <p:nvPr/>
        </p:nvSpPr>
        <p:spPr bwMode="auto">
          <a:xfrm>
            <a:off x="7429021" y="5358542"/>
            <a:ext cx="21904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a:r>
              <a:rPr lang="en-US" sz="2000" dirty="0"/>
              <a:t>Bit Sets</a:t>
            </a:r>
          </a:p>
        </p:txBody>
      </p:sp>
      <p:pic>
        <p:nvPicPr>
          <p:cNvPr id="6" name="Picture 8" descr="s6">
            <a:extLst>
              <a:ext uri="{FF2B5EF4-FFF2-40B4-BE49-F238E27FC236}">
                <a16:creationId xmlns:a16="http://schemas.microsoft.com/office/drawing/2014/main" id="{173A97FA-C139-070B-CC17-2A527CDF8A58}"/>
              </a:ext>
            </a:extLst>
          </p:cNvPr>
          <p:cNvPicPr>
            <a:picLocks noChangeAspect="1" noChangeArrowheads="1"/>
          </p:cNvPicPr>
          <p:nvPr/>
        </p:nvPicPr>
        <p:blipFill rotWithShape="1">
          <a:blip r:embed="rId10" cstate="print">
            <a:clrChange>
              <a:clrFrom>
                <a:srgbClr val="FEFEFE"/>
              </a:clrFrom>
              <a:clrTo>
                <a:srgbClr val="FEFEFE">
                  <a:alpha val="0"/>
                </a:srgbClr>
              </a:clrTo>
            </a:clrChange>
            <a:extLst>
              <a:ext uri="{28A0092B-C50C-407E-A947-70E740481C1C}">
                <a14:useLocalDpi xmlns:a14="http://schemas.microsoft.com/office/drawing/2010/main" val="0"/>
              </a:ext>
            </a:extLst>
          </a:blip>
          <a:srcRect l="-8489" t="8770" r="35225" b="-559"/>
          <a:stretch/>
        </p:blipFill>
        <p:spPr bwMode="auto">
          <a:xfrm>
            <a:off x="6054842" y="1228106"/>
            <a:ext cx="1466478" cy="1923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6" descr="TSD_M">
            <a:extLst>
              <a:ext uri="{FF2B5EF4-FFF2-40B4-BE49-F238E27FC236}">
                <a16:creationId xmlns:a16="http://schemas.microsoft.com/office/drawing/2014/main" id="{018483C8-B1E6-8BDF-392F-414F2C80F9F6}"/>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8479" t="9144" r="-17776" b="-158"/>
          <a:stretch/>
        </p:blipFill>
        <p:spPr bwMode="auto">
          <a:xfrm>
            <a:off x="4837273" y="1466843"/>
            <a:ext cx="2232310" cy="1684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Placeholder 16">
            <a:extLst>
              <a:ext uri="{FF2B5EF4-FFF2-40B4-BE49-F238E27FC236}">
                <a16:creationId xmlns:a16="http://schemas.microsoft.com/office/drawing/2014/main" id="{FBBA6E47-16B3-B6BE-EE02-AB337B8332A5}"/>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0" b="94978" l="0" r="100000">
                        <a14:foregroundMark x1="20548" y1="49782" x2="20548" y2="49782"/>
                        <a14:foregroundMark x1="7705" y1="64410" x2="7705" y2="64410"/>
                        <a14:backgroundMark x1="94863" y1="32314" x2="36644" y2="3275"/>
                        <a14:backgroundMark x1="80137" y1="66594" x2="67637" y2="61572"/>
                        <a14:backgroundMark x1="78938" y1="65066" x2="66610" y2="60044"/>
                        <a14:backgroundMark x1="12842" y1="66157" x2="15925" y2="68996"/>
                        <a14:backgroundMark x1="18836" y1="67686" x2="18836" y2="67686"/>
                        <a14:backgroundMark x1="20719" y1="66812" x2="20719" y2="66812"/>
                        <a14:backgroundMark x1="89555" y1="67904" x2="85274" y2="67904"/>
                        <a14:backgroundMark x1="41781" y1="24891" x2="16952" y2="27511"/>
                        <a14:backgroundMark x1="45719" y1="51092" x2="45377" y2="54367"/>
                        <a14:backgroundMark x1="46404" y1="50873" x2="48288" y2="55459"/>
                        <a14:backgroundMark x1="60788" y1="56332" x2="59247" y2="55895"/>
                      </a14:backgroundRemoval>
                    </a14:imgEffect>
                  </a14:imgLayer>
                </a14:imgProps>
              </a:ext>
            </a:extLst>
          </a:blip>
          <a:srcRect t="1892" b="1892"/>
          <a:stretch/>
        </p:blipFill>
        <p:spPr>
          <a:xfrm rot="4386806">
            <a:off x="6995100" y="1075424"/>
            <a:ext cx="2386146" cy="1800700"/>
          </a:xfrm>
          <a:prstGeom prst="rect">
            <a:avLst/>
          </a:prstGeom>
        </p:spPr>
      </p:pic>
      <p:sp>
        <p:nvSpPr>
          <p:cNvPr id="20" name="Footer Placeholder 19">
            <a:extLst>
              <a:ext uri="{FF2B5EF4-FFF2-40B4-BE49-F238E27FC236}">
                <a16:creationId xmlns:a16="http://schemas.microsoft.com/office/drawing/2014/main" id="{156161F2-235C-37AC-59D4-B7C51AA1DEEA}"/>
              </a:ext>
            </a:extLst>
          </p:cNvPr>
          <p:cNvSpPr>
            <a:spLocks noGrp="1"/>
          </p:cNvSpPr>
          <p:nvPr>
            <p:ph type="ftr" sz="quarter" idx="17"/>
          </p:nvPr>
        </p:nvSpPr>
        <p:spPr/>
        <p:txBody>
          <a:bodyPr/>
          <a:lstStyle/>
          <a:p>
            <a:r>
              <a:rPr lang="en-US"/>
              <a:t>Updated January 2023</a:t>
            </a:r>
            <a:endParaRPr lang="de-DE" dirty="0"/>
          </a:p>
        </p:txBody>
      </p:sp>
      <p:sp>
        <p:nvSpPr>
          <p:cNvPr id="21" name="TextBox 5">
            <a:extLst>
              <a:ext uri="{FF2B5EF4-FFF2-40B4-BE49-F238E27FC236}">
                <a16:creationId xmlns:a16="http://schemas.microsoft.com/office/drawing/2014/main" id="{1DA04FE4-0251-6E17-C2AD-C92DB0F5135C}"/>
              </a:ext>
            </a:extLst>
          </p:cNvPr>
          <p:cNvSpPr txBox="1">
            <a:spLocks noChangeArrowheads="1"/>
          </p:cNvSpPr>
          <p:nvPr/>
        </p:nvSpPr>
        <p:spPr bwMode="auto">
          <a:xfrm>
            <a:off x="5323034" y="3155999"/>
            <a:ext cx="368011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Arial Unicode MS" pitchFamily="34" charset="-128"/>
                <a:cs typeface="Arial Unicode MS" pitchFamily="34" charset="-128"/>
              </a:defRPr>
            </a:lvl1pPr>
            <a:lvl2pPr marL="742950" indent="-285750">
              <a:defRPr sz="2400">
                <a:solidFill>
                  <a:schemeClr val="tx1"/>
                </a:solidFill>
                <a:latin typeface="Arial" charset="0"/>
                <a:ea typeface="Arial Unicode MS" pitchFamily="34" charset="-128"/>
                <a:cs typeface="Arial Unicode MS" pitchFamily="34" charset="-128"/>
              </a:defRPr>
            </a:lvl2pPr>
            <a:lvl3pPr marL="1143000" indent="-228600">
              <a:defRPr sz="2400">
                <a:solidFill>
                  <a:schemeClr val="tx1"/>
                </a:solidFill>
                <a:latin typeface="Arial" charset="0"/>
                <a:ea typeface="Arial Unicode MS" pitchFamily="34" charset="-128"/>
                <a:cs typeface="Arial Unicode MS" pitchFamily="34" charset="-128"/>
              </a:defRPr>
            </a:lvl3pPr>
            <a:lvl4pPr marL="1600200" indent="-228600">
              <a:defRPr sz="2400">
                <a:solidFill>
                  <a:schemeClr val="tx1"/>
                </a:solidFill>
                <a:latin typeface="Arial" charset="0"/>
                <a:ea typeface="Arial Unicode MS" pitchFamily="34" charset="-128"/>
                <a:cs typeface="Arial Unicode MS" pitchFamily="34" charset="-128"/>
              </a:defRPr>
            </a:lvl4pPr>
            <a:lvl5pPr marL="2057400" indent="-228600">
              <a:defRPr sz="24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defRPr sz="2400">
                <a:solidFill>
                  <a:schemeClr val="tx1"/>
                </a:solidFill>
                <a:latin typeface="Arial" charset="0"/>
                <a:ea typeface="Arial Unicode MS" pitchFamily="34" charset="-128"/>
                <a:cs typeface="Arial Unicode MS" pitchFamily="34" charset="-128"/>
              </a:defRPr>
            </a:lvl9pPr>
          </a:lstStyle>
          <a:p>
            <a:pPr algn="ctr"/>
            <a:r>
              <a:rPr lang="en-US" sz="2000" dirty="0"/>
              <a:t>Manual and battery powered torque screwdrivers</a:t>
            </a:r>
          </a:p>
        </p:txBody>
      </p:sp>
    </p:spTree>
    <p:extLst>
      <p:ext uri="{BB962C8B-B14F-4D97-AF65-F5344CB8AC3E}">
        <p14:creationId xmlns:p14="http://schemas.microsoft.com/office/powerpoint/2010/main" val="97598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SCREWFOX Torque Screwdrivers (TSD) </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4" name="Picture 8" descr="s6">
            <a:extLst>
              <a:ext uri="{FF2B5EF4-FFF2-40B4-BE49-F238E27FC236}">
                <a16:creationId xmlns:a16="http://schemas.microsoft.com/office/drawing/2014/main" id="{A6E52D7B-2900-A809-439E-E36E2EAE22F9}"/>
              </a:ext>
            </a:extLst>
          </p:cNvPr>
          <p:cNvPicPr>
            <a:picLocks noChangeAspect="1" noChangeArrowheads="1"/>
          </p:cNvPicPr>
          <p:nvPr/>
        </p:nvPicPr>
        <p:blipFill rotWithShape="1">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l="-8489" t="8770" r="35225" b="-559"/>
          <a:stretch/>
        </p:blipFill>
        <p:spPr bwMode="auto">
          <a:xfrm>
            <a:off x="297370" y="1636557"/>
            <a:ext cx="1841413" cy="241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TSD_M">
            <a:extLst>
              <a:ext uri="{FF2B5EF4-FFF2-40B4-BE49-F238E27FC236}">
                <a16:creationId xmlns:a16="http://schemas.microsoft.com/office/drawing/2014/main" id="{15EE4874-9A1F-6E65-8A61-A35DB16CA88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479" t="9144" r="-17776" b="-158"/>
          <a:stretch/>
        </p:blipFill>
        <p:spPr bwMode="auto">
          <a:xfrm>
            <a:off x="2607249" y="2128301"/>
            <a:ext cx="2774837" cy="209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Placeholder 16">
            <a:extLst>
              <a:ext uri="{FF2B5EF4-FFF2-40B4-BE49-F238E27FC236}">
                <a16:creationId xmlns:a16="http://schemas.microsoft.com/office/drawing/2014/main" id="{F6AAB607-AE2A-B585-489E-285C9F411AA1}"/>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0" b="94978" l="0" r="100000">
                        <a14:foregroundMark x1="20548" y1="49782" x2="20548" y2="49782"/>
                        <a14:foregroundMark x1="7705" y1="64410" x2="7705" y2="64410"/>
                        <a14:backgroundMark x1="94863" y1="32314" x2="36644" y2="3275"/>
                        <a14:backgroundMark x1="80137" y1="66594" x2="67637" y2="61572"/>
                        <a14:backgroundMark x1="78938" y1="65066" x2="66610" y2="60044"/>
                        <a14:backgroundMark x1="12842" y1="66157" x2="15925" y2="68996"/>
                        <a14:backgroundMark x1="18836" y1="67686" x2="18836" y2="67686"/>
                        <a14:backgroundMark x1="20719" y1="66812" x2="20719" y2="66812"/>
                        <a14:backgroundMark x1="89555" y1="67904" x2="85274" y2="67904"/>
                        <a14:backgroundMark x1="41781" y1="24891" x2="16952" y2="27511"/>
                        <a14:backgroundMark x1="45719" y1="51092" x2="45377" y2="54367"/>
                        <a14:backgroundMark x1="46404" y1="50873" x2="48288" y2="55459"/>
                        <a14:backgroundMark x1="60788" y1="56332" x2="59247" y2="55895"/>
                      </a14:backgroundRemoval>
                    </a14:imgEffect>
                  </a14:imgLayer>
                </a14:imgProps>
              </a:ext>
            </a:extLst>
          </a:blip>
          <a:srcRect t="1892" b="1892"/>
          <a:stretch/>
        </p:blipFill>
        <p:spPr>
          <a:xfrm rot="1733578">
            <a:off x="5838282" y="1594642"/>
            <a:ext cx="3489719" cy="2633509"/>
          </a:xfrm>
          <a:prstGeom prst="rect">
            <a:avLst/>
          </a:prstGeom>
        </p:spPr>
      </p:pic>
      <p:pic>
        <p:nvPicPr>
          <p:cNvPr id="9" name="Picture 9" descr="bits">
            <a:extLst>
              <a:ext uri="{FF2B5EF4-FFF2-40B4-BE49-F238E27FC236}">
                <a16:creationId xmlns:a16="http://schemas.microsoft.com/office/drawing/2014/main" id="{5872AC1A-937E-C7ED-F5D6-AB037FE06982}"/>
              </a:ext>
            </a:extLst>
          </p:cNvPr>
          <p:cNvPicPr>
            <a:picLocks noChangeAspect="1" noChangeArrowheads="1"/>
          </p:cNvPicPr>
          <p:nvPr/>
        </p:nvPicPr>
        <p:blipFill>
          <a:blip r:embed="rId7" cstate="print">
            <a:clrChange>
              <a:clrFrom>
                <a:srgbClr val="FEFEFE"/>
              </a:clrFrom>
              <a:clrTo>
                <a:srgbClr val="FEFEFE">
                  <a:alpha val="0"/>
                </a:srgbClr>
              </a:clrTo>
            </a:clrChange>
            <a:extLst>
              <a:ext uri="{28A0092B-C50C-407E-A947-70E740481C1C}">
                <a14:useLocalDpi xmlns:a14="http://schemas.microsoft.com/office/drawing/2010/main" val="0"/>
              </a:ext>
            </a:extLst>
          </a:blip>
          <a:srcRect l="174" r="174"/>
          <a:stretch>
            <a:fillRect/>
          </a:stretch>
        </p:blipFill>
        <p:spPr bwMode="auto">
          <a:xfrm>
            <a:off x="9858358" y="2457568"/>
            <a:ext cx="1908174"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3">
            <a:extLst>
              <a:ext uri="{FF2B5EF4-FFF2-40B4-BE49-F238E27FC236}">
                <a16:creationId xmlns:a16="http://schemas.microsoft.com/office/drawing/2014/main" id="{7FFAED77-557A-7898-D349-97ACECE7EEDC}"/>
              </a:ext>
            </a:extLst>
          </p:cNvPr>
          <p:cNvSpPr txBox="1">
            <a:spLocks/>
          </p:cNvSpPr>
          <p:nvPr/>
        </p:nvSpPr>
        <p:spPr>
          <a:xfrm>
            <a:off x="539751" y="4338126"/>
            <a:ext cx="2897930" cy="813454"/>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SD-M 1,2NM 1212224</a:t>
            </a:r>
          </a:p>
          <a:p>
            <a:pPr marL="0" indent="0" algn="ctr">
              <a:buNone/>
            </a:pPr>
            <a:r>
              <a:rPr lang="en-US" dirty="0"/>
              <a:t>TSD-M 3NM 1212225</a:t>
            </a:r>
          </a:p>
          <a:p>
            <a:pPr marL="0" indent="0" algn="ctr">
              <a:buNone/>
            </a:pPr>
            <a:endParaRPr lang="en-US" dirty="0"/>
          </a:p>
        </p:txBody>
      </p:sp>
      <p:sp>
        <p:nvSpPr>
          <p:cNvPr id="11" name="Text Placeholder 7">
            <a:extLst>
              <a:ext uri="{FF2B5EF4-FFF2-40B4-BE49-F238E27FC236}">
                <a16:creationId xmlns:a16="http://schemas.microsoft.com/office/drawing/2014/main" id="{A944E541-2F97-DE87-AE8A-3363D3D8D51E}"/>
              </a:ext>
            </a:extLst>
          </p:cNvPr>
          <p:cNvSpPr txBox="1">
            <a:spLocks/>
          </p:cNvSpPr>
          <p:nvPr/>
        </p:nvSpPr>
        <p:spPr>
          <a:xfrm>
            <a:off x="3845628" y="4347650"/>
            <a:ext cx="1908174" cy="81345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SD-M 6NM</a:t>
            </a:r>
          </a:p>
          <a:p>
            <a:pPr marL="0" indent="0" algn="ctr">
              <a:buNone/>
            </a:pPr>
            <a:r>
              <a:rPr lang="en-US" dirty="0"/>
              <a:t>1212226</a:t>
            </a:r>
          </a:p>
          <a:p>
            <a:pPr marL="0" indent="0" algn="ctr">
              <a:buNone/>
            </a:pPr>
            <a:endParaRPr lang="en-US" dirty="0"/>
          </a:p>
        </p:txBody>
      </p:sp>
      <p:sp>
        <p:nvSpPr>
          <p:cNvPr id="13" name="Text Placeholder 9">
            <a:extLst>
              <a:ext uri="{FF2B5EF4-FFF2-40B4-BE49-F238E27FC236}">
                <a16:creationId xmlns:a16="http://schemas.microsoft.com/office/drawing/2014/main" id="{D95D419B-5D40-BD39-2E20-676743549F18}"/>
              </a:ext>
            </a:extLst>
          </p:cNvPr>
          <p:cNvSpPr txBox="1">
            <a:spLocks/>
          </p:cNvSpPr>
          <p:nvPr/>
        </p:nvSpPr>
        <p:spPr>
          <a:xfrm>
            <a:off x="5877386" y="4300025"/>
            <a:ext cx="3866689"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SF – ASD 16  1200294</a:t>
            </a:r>
          </a:p>
          <a:p>
            <a:pPr marL="0" indent="0" algn="ctr">
              <a:buNone/>
            </a:pPr>
            <a:r>
              <a:rPr lang="en-US" dirty="0"/>
              <a:t>Set - 1200295</a:t>
            </a:r>
          </a:p>
          <a:p>
            <a:pPr marL="0" indent="0" algn="ctr">
              <a:buNone/>
            </a:pPr>
            <a:r>
              <a:rPr lang="en-US" dirty="0"/>
              <a:t>Battery powered torque screwdriver</a:t>
            </a:r>
          </a:p>
        </p:txBody>
      </p:sp>
      <p:sp>
        <p:nvSpPr>
          <p:cNvPr id="14" name="Text Placeholder 5">
            <a:extLst>
              <a:ext uri="{FF2B5EF4-FFF2-40B4-BE49-F238E27FC236}">
                <a16:creationId xmlns:a16="http://schemas.microsoft.com/office/drawing/2014/main" id="{295D77E2-5A0C-F490-AD04-B826459EF5E4}"/>
              </a:ext>
            </a:extLst>
          </p:cNvPr>
          <p:cNvSpPr txBox="1">
            <a:spLocks/>
          </p:cNvSpPr>
          <p:nvPr/>
        </p:nvSpPr>
        <p:spPr>
          <a:xfrm>
            <a:off x="9670029" y="4372467"/>
            <a:ext cx="2284832"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 bits </a:t>
            </a:r>
          </a:p>
          <a:p>
            <a:pPr marL="0" indent="0" algn="ctr">
              <a:buNone/>
            </a:pPr>
            <a:r>
              <a:rPr lang="en-US" dirty="0"/>
              <a:t>For slotted-head, Phillips, and test socket screws</a:t>
            </a:r>
          </a:p>
          <a:p>
            <a:pPr marL="0" indent="0" algn="ctr">
              <a:buNone/>
            </a:pPr>
            <a:endParaRPr lang="en-US" dirty="0"/>
          </a:p>
        </p:txBody>
      </p:sp>
      <p:sp>
        <p:nvSpPr>
          <p:cNvPr id="12" name="Footer Placeholder 11">
            <a:extLst>
              <a:ext uri="{FF2B5EF4-FFF2-40B4-BE49-F238E27FC236}">
                <a16:creationId xmlns:a16="http://schemas.microsoft.com/office/drawing/2014/main" id="{E70E6465-2705-8789-7337-0590D31E10F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38929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SCREWFOX TSD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3</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grpSp>
        <p:nvGrpSpPr>
          <p:cNvPr id="4" name="Group 3">
            <a:extLst>
              <a:ext uri="{FF2B5EF4-FFF2-40B4-BE49-F238E27FC236}">
                <a16:creationId xmlns:a16="http://schemas.microsoft.com/office/drawing/2014/main" id="{CD923CF3-616A-E8E0-BCC0-3845FE154F36}"/>
              </a:ext>
            </a:extLst>
          </p:cNvPr>
          <p:cNvGrpSpPr/>
          <p:nvPr/>
        </p:nvGrpSpPr>
        <p:grpSpPr>
          <a:xfrm>
            <a:off x="8192918" y="1008210"/>
            <a:ext cx="3594499" cy="4848580"/>
            <a:chOff x="5076827" y="411956"/>
            <a:chExt cx="3671886" cy="4104085"/>
          </a:xfrm>
        </p:grpSpPr>
        <p:sp>
          <p:nvSpPr>
            <p:cNvPr id="5" name="AutoShape 11">
              <a:extLst>
                <a:ext uri="{FF2B5EF4-FFF2-40B4-BE49-F238E27FC236}">
                  <a16:creationId xmlns:a16="http://schemas.microsoft.com/office/drawing/2014/main" id="{385E9D17-0D29-68E1-E19F-01226F99971F}"/>
                </a:ext>
              </a:extLst>
            </p:cNvPr>
            <p:cNvSpPr>
              <a:spLocks noChangeArrowheads="1"/>
            </p:cNvSpPr>
            <p:nvPr/>
          </p:nvSpPr>
          <p:spPr bwMode="auto">
            <a:xfrm>
              <a:off x="5219701" y="2085975"/>
              <a:ext cx="3457575" cy="539354"/>
            </a:xfrm>
            <a:prstGeom prst="flowChartMerge">
              <a:avLst/>
            </a:prstGeom>
            <a:gradFill rotWithShape="1">
              <a:gsLst>
                <a:gs pos="0">
                  <a:srgbClr val="F9F9F9"/>
                </a:gs>
                <a:gs pos="50000">
                  <a:schemeClr val="accent1"/>
                </a:gs>
                <a:gs pos="100000">
                  <a:srgbClr val="F9F9F9"/>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pic>
          <p:nvPicPr>
            <p:cNvPr id="6" name="Picture 9" descr="bits">
              <a:extLst>
                <a:ext uri="{FF2B5EF4-FFF2-40B4-BE49-F238E27FC236}">
                  <a16:creationId xmlns:a16="http://schemas.microsoft.com/office/drawing/2014/main" id="{F423F7DA-106C-01F8-B622-B738299B3FB1}"/>
                </a:ext>
              </a:extLst>
            </p:cNvPr>
            <p:cNvPicPr>
              <a:picLocks noChangeAspect="1" noChangeArrowheads="1"/>
            </p:cNvPicPr>
            <p:nvPr/>
          </p:nvPicPr>
          <p:blipFill>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076827" y="411956"/>
              <a:ext cx="3671886" cy="2030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s6">
              <a:extLst>
                <a:ext uri="{FF2B5EF4-FFF2-40B4-BE49-F238E27FC236}">
                  <a16:creationId xmlns:a16="http://schemas.microsoft.com/office/drawing/2014/main" id="{2622BA1D-07E1-A810-165C-4ABD4FF3D19A}"/>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31882" t="13284" r="30707"/>
            <a:stretch>
              <a:fillRect/>
            </a:stretch>
          </p:blipFill>
          <p:spPr bwMode="auto">
            <a:xfrm>
              <a:off x="6443664" y="2572941"/>
              <a:ext cx="1055687" cy="194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Picture 9">
            <a:extLst>
              <a:ext uri="{FF2B5EF4-FFF2-40B4-BE49-F238E27FC236}">
                <a16:creationId xmlns:a16="http://schemas.microsoft.com/office/drawing/2014/main" id="{9077D509-CB0F-D517-0770-66A3B34EC8F9}"/>
              </a:ext>
            </a:extLst>
          </p:cNvPr>
          <p:cNvPicPr>
            <a:picLocks noChangeAspect="1"/>
          </p:cNvPicPr>
          <p:nvPr/>
        </p:nvPicPr>
        <p:blipFill rotWithShape="1">
          <a:blip r:embed="rId5">
            <a:extLst>
              <a:ext uri="{28A0092B-C50C-407E-A947-70E740481C1C}">
                <a14:useLocalDpi xmlns:a14="http://schemas.microsoft.com/office/drawing/2010/main" val="0"/>
              </a:ext>
            </a:extLst>
          </a:blip>
          <a:srcRect l="40000" t="13759" r="38333" b="2867"/>
          <a:stretch/>
        </p:blipFill>
        <p:spPr>
          <a:xfrm rot="20665449">
            <a:off x="7255863" y="1876127"/>
            <a:ext cx="885032" cy="3581112"/>
          </a:xfrm>
          <a:prstGeom prst="rect">
            <a:avLst/>
          </a:prstGeom>
        </p:spPr>
      </p:pic>
      <p:sp>
        <p:nvSpPr>
          <p:cNvPr id="11" name="Content Placeholder 3">
            <a:extLst>
              <a:ext uri="{FF2B5EF4-FFF2-40B4-BE49-F238E27FC236}">
                <a16:creationId xmlns:a16="http://schemas.microsoft.com/office/drawing/2014/main" id="{098B63DD-D801-73EE-CFFC-4951EF496ACD}"/>
              </a:ext>
            </a:extLst>
          </p:cNvPr>
          <p:cNvSpPr txBox="1">
            <a:spLocks/>
          </p:cNvSpPr>
          <p:nvPr/>
        </p:nvSpPr>
        <p:spPr>
          <a:xfrm>
            <a:off x="550872" y="1753217"/>
            <a:ext cx="6240453" cy="447396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Torque screwdrivers provide a faster and more reliable connection for the screw terminal block line</a:t>
            </a:r>
          </a:p>
          <a:p>
            <a:pPr>
              <a:spcBef>
                <a:spcPts val="600"/>
              </a:spcBef>
            </a:pPr>
            <a:r>
              <a:rPr lang="en-US" dirty="0"/>
              <a:t>Quick release chuck allows for fast interchange of standard bits</a:t>
            </a:r>
          </a:p>
          <a:p>
            <a:pPr>
              <a:spcBef>
                <a:spcPts val="600"/>
              </a:spcBef>
            </a:pPr>
            <a:r>
              <a:rPr lang="en-US" dirty="0"/>
              <a:t>The required torque is adjustable in small increments</a:t>
            </a:r>
          </a:p>
          <a:p>
            <a:pPr>
              <a:spcBef>
                <a:spcPts val="600"/>
              </a:spcBef>
            </a:pPr>
            <a:r>
              <a:rPr lang="en-US" dirty="0"/>
              <a:t>Non-slip 2 component handles provide for maximum grip</a:t>
            </a:r>
          </a:p>
          <a:p>
            <a:pPr>
              <a:spcBef>
                <a:spcPts val="600"/>
              </a:spcBef>
            </a:pPr>
            <a:r>
              <a:rPr lang="en-US" dirty="0"/>
              <a:t>Manual TSD’s calibrated for UL</a:t>
            </a:r>
          </a:p>
          <a:p>
            <a:pPr lvl="1">
              <a:spcBef>
                <a:spcPts val="600"/>
              </a:spcBef>
            </a:pPr>
            <a:r>
              <a:rPr lang="en-US" dirty="0"/>
              <a:t>Blanket certificate can be downloaded from </a:t>
            </a:r>
            <a:r>
              <a:rPr lang="en-US" dirty="0">
                <a:hlinkClick r:id="rId6"/>
              </a:rPr>
              <a:t>www.phoenixcontact.com/us-TOOLfox</a:t>
            </a:r>
            <a:endParaRPr lang="en-US" dirty="0"/>
          </a:p>
          <a:p>
            <a:pPr lvl="1">
              <a:spcBef>
                <a:spcPts val="600"/>
              </a:spcBef>
            </a:pPr>
            <a:r>
              <a:rPr lang="en-US" dirty="0"/>
              <a:t>Blanket cert + PO UL certifies tool for one year from the date of purchase</a:t>
            </a:r>
          </a:p>
        </p:txBody>
      </p:sp>
      <p:sp>
        <p:nvSpPr>
          <p:cNvPr id="12" name="Footer Placeholder 11">
            <a:extLst>
              <a:ext uri="{FF2B5EF4-FFF2-40B4-BE49-F238E27FC236}">
                <a16:creationId xmlns:a16="http://schemas.microsoft.com/office/drawing/2014/main" id="{075A1B28-6CB1-756D-5AAF-A5F0873250C5}"/>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11941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4</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SCREWFOX ASD 16 Features and Benefits</a:t>
            </a:r>
          </a:p>
        </p:txBody>
      </p:sp>
      <p:sp>
        <p:nvSpPr>
          <p:cNvPr id="14" name="Content Placeholder 3">
            <a:extLst>
              <a:ext uri="{FF2B5EF4-FFF2-40B4-BE49-F238E27FC236}">
                <a16:creationId xmlns:a16="http://schemas.microsoft.com/office/drawing/2014/main" id="{9035A9EA-6E62-B083-7649-73AF7160DCEB}"/>
              </a:ext>
            </a:extLst>
          </p:cNvPr>
          <p:cNvSpPr txBox="1">
            <a:spLocks/>
          </p:cNvSpPr>
          <p:nvPr/>
        </p:nvSpPr>
        <p:spPr>
          <a:xfrm>
            <a:off x="550873" y="1820863"/>
            <a:ext cx="6726227" cy="353622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buClr>
                <a:srgbClr val="00B4B0"/>
              </a:buClr>
            </a:pPr>
            <a:r>
              <a:rPr lang="en-US" dirty="0"/>
              <a:t>A versatile battery powered torque screwdriver</a:t>
            </a:r>
          </a:p>
          <a:p>
            <a:pPr>
              <a:spcBef>
                <a:spcPts val="600"/>
              </a:spcBef>
              <a:buClr>
                <a:srgbClr val="00B4B0"/>
              </a:buClr>
            </a:pPr>
            <a:r>
              <a:rPr lang="en-US" dirty="0"/>
              <a:t>Straight or angled position use</a:t>
            </a:r>
          </a:p>
          <a:p>
            <a:pPr>
              <a:spcBef>
                <a:spcPts val="600"/>
              </a:spcBef>
              <a:buClr>
                <a:srgbClr val="00B4B0"/>
              </a:buClr>
            </a:pPr>
            <a:r>
              <a:rPr lang="en-US" dirty="0"/>
              <a:t>32 settings, 16 on low and 16 on high torque setting makes the tool suitable for various workspaces and applications </a:t>
            </a:r>
          </a:p>
          <a:p>
            <a:pPr>
              <a:spcBef>
                <a:spcPts val="600"/>
              </a:spcBef>
              <a:buClr>
                <a:srgbClr val="00B4B0"/>
              </a:buClr>
            </a:pPr>
            <a:r>
              <a:rPr lang="en-US" dirty="0"/>
              <a:t>A torque range of 1.06 to 38.32 Inch Pounds (.12 – 4.33 Nm) </a:t>
            </a:r>
          </a:p>
          <a:p>
            <a:pPr>
              <a:spcBef>
                <a:spcPts val="600"/>
              </a:spcBef>
              <a:buClr>
                <a:srgbClr val="00B4B0"/>
              </a:buClr>
            </a:pPr>
            <a:r>
              <a:rPr lang="en-US" dirty="0"/>
              <a:t>Lithium-Ion battery - one hour charge time</a:t>
            </a:r>
          </a:p>
          <a:p>
            <a:pPr>
              <a:spcBef>
                <a:spcPts val="600"/>
              </a:spcBef>
            </a:pPr>
            <a:r>
              <a:rPr lang="en-US" b="1" u="sng" dirty="0">
                <a:solidFill>
                  <a:srgbClr val="FF0000"/>
                </a:solidFill>
              </a:rPr>
              <a:t>Important</a:t>
            </a:r>
            <a:r>
              <a:rPr lang="en-US" dirty="0">
                <a:solidFill>
                  <a:srgbClr val="FF0000"/>
                </a:solidFill>
              </a:rPr>
              <a:t>: Due to the Lithium-Ion battery, the unit may only ship via ground</a:t>
            </a:r>
          </a:p>
          <a:p>
            <a:pPr>
              <a:spcBef>
                <a:spcPts val="600"/>
              </a:spcBef>
              <a:buClr>
                <a:srgbClr val="00B4B0"/>
              </a:buClr>
            </a:pPr>
            <a:endParaRPr lang="en-US" dirty="0"/>
          </a:p>
        </p:txBody>
      </p:sp>
      <p:pic>
        <p:nvPicPr>
          <p:cNvPr id="15" name="Picture 14">
            <a:extLst>
              <a:ext uri="{FF2B5EF4-FFF2-40B4-BE49-F238E27FC236}">
                <a16:creationId xmlns:a16="http://schemas.microsoft.com/office/drawing/2014/main" id="{968DB66D-AA4D-F053-E4B1-89E54545F099}"/>
              </a:ext>
            </a:extLst>
          </p:cNvPr>
          <p:cNvPicPr>
            <a:picLocks noChangeAspect="1"/>
          </p:cNvPicPr>
          <p:nvPr/>
        </p:nvPicPr>
        <p:blipFill rotWithShape="1">
          <a:blip r:embed="rId3"/>
          <a:srcRect b="7655"/>
          <a:stretch/>
        </p:blipFill>
        <p:spPr>
          <a:xfrm>
            <a:off x="7597166" y="1562866"/>
            <a:ext cx="4043152" cy="2928111"/>
          </a:xfrm>
          <a:prstGeom prst="rect">
            <a:avLst/>
          </a:prstGeom>
        </p:spPr>
      </p:pic>
      <p:pic>
        <p:nvPicPr>
          <p:cNvPr id="16" name="Picture 15">
            <a:extLst>
              <a:ext uri="{FF2B5EF4-FFF2-40B4-BE49-F238E27FC236}">
                <a16:creationId xmlns:a16="http://schemas.microsoft.com/office/drawing/2014/main" id="{C07625A2-D7E4-FD0E-CD47-21FAF115566B}"/>
              </a:ext>
            </a:extLst>
          </p:cNvPr>
          <p:cNvPicPr>
            <a:picLocks noChangeAspect="1"/>
          </p:cNvPicPr>
          <p:nvPr/>
        </p:nvPicPr>
        <p:blipFill rotWithShape="1">
          <a:blip r:embed="rId4">
            <a:extLst>
              <a:ext uri="{28A0092B-C50C-407E-A947-70E740481C1C}">
                <a14:useLocalDpi xmlns:a14="http://schemas.microsoft.com/office/drawing/2010/main" val="0"/>
              </a:ext>
            </a:extLst>
          </a:blip>
          <a:srcRect l="40000" t="13759" r="38333" b="2867"/>
          <a:stretch/>
        </p:blipFill>
        <p:spPr>
          <a:xfrm rot="16200000">
            <a:off x="9281712" y="3460358"/>
            <a:ext cx="880724" cy="3563681"/>
          </a:xfrm>
          <a:prstGeom prst="rect">
            <a:avLst/>
          </a:prstGeom>
        </p:spPr>
      </p:pic>
      <p:sp>
        <p:nvSpPr>
          <p:cNvPr id="3" name="Footer Placeholder 2">
            <a:extLst>
              <a:ext uri="{FF2B5EF4-FFF2-40B4-BE49-F238E27FC236}">
                <a16:creationId xmlns:a16="http://schemas.microsoft.com/office/drawing/2014/main" id="{16062DEA-E427-C560-B513-34D594AF11B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14388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5</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SCREWFOX Socket Set 47 Features</a:t>
            </a:r>
          </a:p>
        </p:txBody>
      </p:sp>
      <p:pic>
        <p:nvPicPr>
          <p:cNvPr id="3" name="Picture 1" descr="85098_2000_int">
            <a:extLst>
              <a:ext uri="{FF2B5EF4-FFF2-40B4-BE49-F238E27FC236}">
                <a16:creationId xmlns:a16="http://schemas.microsoft.com/office/drawing/2014/main" id="{7A876042-8883-115B-0458-7FA7B8FEDA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034" b="2698"/>
          <a:stretch/>
        </p:blipFill>
        <p:spPr bwMode="auto">
          <a:xfrm>
            <a:off x="8322999" y="867541"/>
            <a:ext cx="3665678" cy="3245644"/>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BA50283A-C1D7-7FC9-E1E0-C985FF629716}"/>
              </a:ext>
            </a:extLst>
          </p:cNvPr>
          <p:cNvSpPr txBox="1">
            <a:spLocks/>
          </p:cNvSpPr>
          <p:nvPr/>
        </p:nvSpPr>
        <p:spPr>
          <a:xfrm>
            <a:off x="457199" y="2269817"/>
            <a:ext cx="10334626" cy="3549958"/>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Solid ¼” screw set with comprehensive equipment</a:t>
            </a:r>
          </a:p>
          <a:p>
            <a:pPr>
              <a:spcBef>
                <a:spcPts val="600"/>
              </a:spcBef>
            </a:pPr>
            <a:r>
              <a:rPr lang="en-US" dirty="0"/>
              <a:t>Ratcheting mechanism with 48 teeth for tight spaces</a:t>
            </a:r>
          </a:p>
          <a:p>
            <a:pPr>
              <a:spcBef>
                <a:spcPts val="600"/>
              </a:spcBef>
            </a:pPr>
            <a:r>
              <a:rPr lang="en-US" dirty="0"/>
              <a:t>Optimum power transmission </a:t>
            </a:r>
          </a:p>
          <a:p>
            <a:pPr>
              <a:spcBef>
                <a:spcPts val="600"/>
              </a:spcBef>
            </a:pPr>
            <a:r>
              <a:rPr lang="en-US" dirty="0"/>
              <a:t>Made from chrome vanadium steel for a long service life.</a:t>
            </a:r>
          </a:p>
          <a:p>
            <a:pPr>
              <a:spcBef>
                <a:spcPts val="600"/>
              </a:spcBef>
            </a:pPr>
            <a:r>
              <a:rPr lang="en-US" dirty="0"/>
              <a:t>Organized in an impact-resistant robust plastic case with metal fastenings</a:t>
            </a:r>
          </a:p>
          <a:p>
            <a:pPr>
              <a:spcBef>
                <a:spcPts val="600"/>
              </a:spcBef>
            </a:pPr>
            <a:r>
              <a:rPr lang="en-US" dirty="0"/>
              <a:t>Set includes: 1/4" socket set, 47-piece, 1/4" reversible ratchet, 48 teeth with fast locking system, 50 mm and 100 mm 1/4" extensions, 1/4" screwdriver handle, 150 mm 1/4" flexible extension, 1/4" Cardan joint, 1/4" T-handle, 2 x 1/4" bit adapter, 13 knurled 1/4" sockets, wrench size: 4 / 4.5 / 5 / 5.5 / 6 / 7 / 8 / 9 / 10 / 11 / 12 / 13 / 14 mm, 21 knurled socket bits: 6 x </a:t>
            </a:r>
            <a:r>
              <a:rPr lang="en-US" dirty="0" err="1"/>
              <a:t>Torx</a:t>
            </a:r>
            <a:r>
              <a:rPr lang="en-US" baseline="30000" dirty="0"/>
              <a:t>®</a:t>
            </a:r>
            <a:r>
              <a:rPr lang="en-US" dirty="0"/>
              <a:t> T10, T15, T20, T25, T30, T40, 6 x Hex 3, 4, 5, 6, 7, 8 mm, 3 x Phillips recess</a:t>
            </a:r>
            <a:r>
              <a:rPr lang="en-US" baseline="30000" dirty="0"/>
              <a:t>®</a:t>
            </a:r>
            <a:r>
              <a:rPr lang="en-US" dirty="0"/>
              <a:t> PH1, PH2, PH3, 3 x </a:t>
            </a:r>
            <a:r>
              <a:rPr lang="en-US" dirty="0" err="1"/>
              <a:t>Pozidriv</a:t>
            </a:r>
            <a:r>
              <a:rPr lang="en-US" baseline="30000" dirty="0"/>
              <a:t>®</a:t>
            </a:r>
            <a:r>
              <a:rPr lang="en-US" dirty="0"/>
              <a:t> PZ1, PZ2, PZ3, 3 x slotted 4, 5.5, 7 mm, Allen wrench Hex 1.27, 1.5, 2, 2.5 mm. </a:t>
            </a:r>
          </a:p>
          <a:p>
            <a:pPr>
              <a:spcBef>
                <a:spcPts val="600"/>
              </a:spcBef>
            </a:pPr>
            <a:endParaRPr lang="en-US" dirty="0"/>
          </a:p>
        </p:txBody>
      </p:sp>
      <p:sp>
        <p:nvSpPr>
          <p:cNvPr id="5" name="Footer Placeholder 4">
            <a:extLst>
              <a:ext uri="{FF2B5EF4-FFF2-40B4-BE49-F238E27FC236}">
                <a16:creationId xmlns:a16="http://schemas.microsoft.com/office/drawing/2014/main" id="{F38FC3DD-7B35-D319-CF90-239A53E1A9F7}"/>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66135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6</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MICROFOX Features and Benefits</a:t>
            </a:r>
          </a:p>
        </p:txBody>
      </p:sp>
      <p:pic>
        <p:nvPicPr>
          <p:cNvPr id="3" name="Picture 2">
            <a:extLst>
              <a:ext uri="{FF2B5EF4-FFF2-40B4-BE49-F238E27FC236}">
                <a16:creationId xmlns:a16="http://schemas.microsoft.com/office/drawing/2014/main" id="{4DB9C99A-00F7-D8E8-AEBF-1841C4D278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0111" y="1746543"/>
            <a:ext cx="5138144" cy="3853608"/>
          </a:xfrm>
          <a:prstGeom prst="rect">
            <a:avLst/>
          </a:prstGeom>
        </p:spPr>
      </p:pic>
      <p:sp>
        <p:nvSpPr>
          <p:cNvPr id="4" name="Content Placeholder 3">
            <a:extLst>
              <a:ext uri="{FF2B5EF4-FFF2-40B4-BE49-F238E27FC236}">
                <a16:creationId xmlns:a16="http://schemas.microsoft.com/office/drawing/2014/main" id="{7F756B58-F0EA-9EEB-B5FA-6ABE07D10905}"/>
              </a:ext>
            </a:extLst>
          </p:cNvPr>
          <p:cNvSpPr txBox="1">
            <a:spLocks/>
          </p:cNvSpPr>
          <p:nvPr/>
        </p:nvSpPr>
        <p:spPr>
          <a:xfrm>
            <a:off x="550872" y="2133424"/>
            <a:ext cx="5392728" cy="263860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For working with small electronic parts and components</a:t>
            </a:r>
          </a:p>
          <a:p>
            <a:pPr>
              <a:spcBef>
                <a:spcPts val="600"/>
              </a:spcBef>
            </a:pPr>
            <a:r>
              <a:rPr lang="en-US" dirty="0"/>
              <a:t>Ideal for working on hard-to access areas such as PCB components</a:t>
            </a:r>
          </a:p>
          <a:p>
            <a:pPr>
              <a:spcBef>
                <a:spcPts val="600"/>
              </a:spcBef>
            </a:pPr>
            <a:r>
              <a:rPr lang="en-US" dirty="0"/>
              <a:t>Manufactured from case-hardened tool steel</a:t>
            </a:r>
          </a:p>
          <a:p>
            <a:pPr>
              <a:spcBef>
                <a:spcPts val="600"/>
              </a:spcBef>
            </a:pPr>
            <a:r>
              <a:rPr lang="en-US" dirty="0"/>
              <a:t>Cutting edges are also inductively hardened</a:t>
            </a:r>
          </a:p>
          <a:p>
            <a:pPr>
              <a:spcBef>
                <a:spcPts val="600"/>
              </a:spcBef>
            </a:pPr>
            <a:r>
              <a:rPr lang="en-US" dirty="0"/>
              <a:t>Glare free line</a:t>
            </a:r>
          </a:p>
        </p:txBody>
      </p:sp>
      <p:sp>
        <p:nvSpPr>
          <p:cNvPr id="5" name="Footer Placeholder 4">
            <a:extLst>
              <a:ext uri="{FF2B5EF4-FFF2-40B4-BE49-F238E27FC236}">
                <a16:creationId xmlns:a16="http://schemas.microsoft.com/office/drawing/2014/main" id="{0F790C82-8DC8-AC97-8FFE-B00BA8C3A1D2}"/>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98206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7</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MICROFOX Electronic Pliers</a:t>
            </a:r>
          </a:p>
        </p:txBody>
      </p:sp>
      <p:pic>
        <p:nvPicPr>
          <p:cNvPr id="3" name="Picture Placeholder 13">
            <a:extLst>
              <a:ext uri="{FF2B5EF4-FFF2-40B4-BE49-F238E27FC236}">
                <a16:creationId xmlns:a16="http://schemas.microsoft.com/office/drawing/2014/main" id="{99A9881B-916C-FC37-4580-6D98B0583ED5}"/>
              </a:ext>
            </a:extLst>
          </p:cNvPr>
          <p:cNvPicPr>
            <a:picLocks noChangeAspect="1"/>
          </p:cNvPicPr>
          <p:nvPr/>
        </p:nvPicPr>
        <p:blipFill rotWithShape="1">
          <a:blip r:embed="rId3"/>
          <a:srcRect l="-20446" t="-443" r="-15176" b="1116"/>
          <a:stretch/>
        </p:blipFill>
        <p:spPr bwMode="gray">
          <a:xfrm>
            <a:off x="697072" y="2165023"/>
            <a:ext cx="1697027" cy="1665158"/>
          </a:xfrm>
          <a:prstGeom prst="rect">
            <a:avLst/>
          </a:prstGeom>
          <a:noFill/>
        </p:spPr>
      </p:pic>
      <p:pic>
        <p:nvPicPr>
          <p:cNvPr id="4" name="Picture Placeholder 14">
            <a:extLst>
              <a:ext uri="{FF2B5EF4-FFF2-40B4-BE49-F238E27FC236}">
                <a16:creationId xmlns:a16="http://schemas.microsoft.com/office/drawing/2014/main" id="{EAA97889-4188-975C-F401-8E7C91C8D0B7}"/>
              </a:ext>
            </a:extLst>
          </p:cNvPr>
          <p:cNvPicPr>
            <a:picLocks noChangeAspect="1"/>
          </p:cNvPicPr>
          <p:nvPr/>
        </p:nvPicPr>
        <p:blipFill rotWithShape="1">
          <a:blip r:embed="rId4"/>
          <a:srcRect l="-17909" t="-40" r="-18045" b="3245"/>
          <a:stretch/>
        </p:blipFill>
        <p:spPr>
          <a:xfrm>
            <a:off x="3772319" y="2165023"/>
            <a:ext cx="1608983" cy="1665158"/>
          </a:xfrm>
          <a:prstGeom prst="rect">
            <a:avLst/>
          </a:prstGeom>
        </p:spPr>
      </p:pic>
      <p:pic>
        <p:nvPicPr>
          <p:cNvPr id="5" name="Picture 6">
            <a:extLst>
              <a:ext uri="{FF2B5EF4-FFF2-40B4-BE49-F238E27FC236}">
                <a16:creationId xmlns:a16="http://schemas.microsoft.com/office/drawing/2014/main" id="{2EBA4289-0220-F0B6-DE79-4E4A5DE909C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120" t="9008" r="-10266" b="1326"/>
          <a:stretch/>
        </p:blipFill>
        <p:spPr bwMode="auto">
          <a:xfrm>
            <a:off x="6507130" y="2043825"/>
            <a:ext cx="2151246" cy="1786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F50894E9-7857-572C-CFA0-192EECDECF6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910" t="9132" r="-14180" b="-29"/>
          <a:stretch/>
        </p:blipFill>
        <p:spPr bwMode="auto">
          <a:xfrm>
            <a:off x="9494333" y="2043825"/>
            <a:ext cx="2367138" cy="1786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3">
            <a:extLst>
              <a:ext uri="{FF2B5EF4-FFF2-40B4-BE49-F238E27FC236}">
                <a16:creationId xmlns:a16="http://schemas.microsoft.com/office/drawing/2014/main" id="{147390A1-149A-23AE-2B74-C9B9E1E50289}"/>
              </a:ext>
            </a:extLst>
          </p:cNvPr>
          <p:cNvSpPr txBox="1">
            <a:spLocks/>
          </p:cNvSpPr>
          <p:nvPr/>
        </p:nvSpPr>
        <p:spPr>
          <a:xfrm>
            <a:off x="347972" y="4097174"/>
            <a:ext cx="2395228" cy="144000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P</a:t>
            </a:r>
          </a:p>
          <a:p>
            <a:pPr marL="0" indent="0" algn="ctr">
              <a:buNone/>
            </a:pPr>
            <a:r>
              <a:rPr lang="en-US" dirty="0"/>
              <a:t>1212491</a:t>
            </a:r>
          </a:p>
          <a:p>
            <a:pPr marL="0" indent="0" algn="ctr">
              <a:buNone/>
            </a:pPr>
            <a:r>
              <a:rPr lang="en-US" sz="1400" dirty="0"/>
              <a:t>Needle-nose pliers, smooth grip, with opening spring</a:t>
            </a:r>
          </a:p>
        </p:txBody>
      </p:sp>
      <p:sp>
        <p:nvSpPr>
          <p:cNvPr id="10" name="Text Placeholder 5">
            <a:extLst>
              <a:ext uri="{FF2B5EF4-FFF2-40B4-BE49-F238E27FC236}">
                <a16:creationId xmlns:a16="http://schemas.microsoft.com/office/drawing/2014/main" id="{F9DFEA66-0A19-CE01-E9FB-EDA6AD73007B}"/>
              </a:ext>
            </a:extLst>
          </p:cNvPr>
          <p:cNvSpPr txBox="1">
            <a:spLocks/>
          </p:cNvSpPr>
          <p:nvPr/>
        </p:nvSpPr>
        <p:spPr>
          <a:xfrm>
            <a:off x="3324226" y="4083171"/>
            <a:ext cx="2505170" cy="1665158"/>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F</a:t>
            </a:r>
          </a:p>
          <a:p>
            <a:pPr marL="0" indent="0" algn="ctr">
              <a:buNone/>
            </a:pPr>
            <a:r>
              <a:rPr lang="en-US" dirty="0"/>
              <a:t>1212493</a:t>
            </a:r>
          </a:p>
          <a:p>
            <a:pPr marL="0" indent="0" algn="ctr">
              <a:buNone/>
            </a:pPr>
            <a:r>
              <a:rPr lang="en-US" sz="1400" dirty="0"/>
              <a:t>Flat pliers, smooth gripping surface, with spring opening</a:t>
            </a:r>
          </a:p>
        </p:txBody>
      </p:sp>
      <p:sp>
        <p:nvSpPr>
          <p:cNvPr id="11" name="Text Placeholder 7">
            <a:extLst>
              <a:ext uri="{FF2B5EF4-FFF2-40B4-BE49-F238E27FC236}">
                <a16:creationId xmlns:a16="http://schemas.microsoft.com/office/drawing/2014/main" id="{F2E89844-3701-888E-2D4D-B0CF31D406D1}"/>
              </a:ext>
            </a:extLst>
          </p:cNvPr>
          <p:cNvSpPr txBox="1">
            <a:spLocks/>
          </p:cNvSpPr>
          <p:nvPr/>
        </p:nvSpPr>
        <p:spPr>
          <a:xfrm>
            <a:off x="6200905" y="4062627"/>
            <a:ext cx="2807655" cy="178635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PC</a:t>
            </a:r>
          </a:p>
          <a:p>
            <a:pPr marL="0" indent="0" algn="ctr">
              <a:buNone/>
            </a:pPr>
            <a:r>
              <a:rPr lang="en-US" dirty="0"/>
              <a:t>1212492</a:t>
            </a:r>
          </a:p>
          <a:p>
            <a:pPr marL="0" indent="0" algn="ctr">
              <a:buNone/>
            </a:pPr>
            <a:r>
              <a:rPr lang="en-US" sz="1400" dirty="0"/>
              <a:t>Needle-nose pliers, 45° angle, smooth grip, with opening spring</a:t>
            </a:r>
          </a:p>
        </p:txBody>
      </p:sp>
      <p:sp>
        <p:nvSpPr>
          <p:cNvPr id="12" name="Text Placeholder 9">
            <a:extLst>
              <a:ext uri="{FF2B5EF4-FFF2-40B4-BE49-F238E27FC236}">
                <a16:creationId xmlns:a16="http://schemas.microsoft.com/office/drawing/2014/main" id="{7ACBD994-28D7-B388-BE53-55BA6CF15314}"/>
              </a:ext>
            </a:extLst>
          </p:cNvPr>
          <p:cNvSpPr txBox="1">
            <a:spLocks/>
          </p:cNvSpPr>
          <p:nvPr/>
        </p:nvSpPr>
        <p:spPr>
          <a:xfrm>
            <a:off x="9476890" y="4060022"/>
            <a:ext cx="2367138"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R</a:t>
            </a:r>
          </a:p>
          <a:p>
            <a:pPr marL="0" indent="0" algn="ctr">
              <a:buNone/>
            </a:pPr>
            <a:r>
              <a:rPr lang="en-US" dirty="0"/>
              <a:t>1212490</a:t>
            </a:r>
          </a:p>
          <a:p>
            <a:pPr marL="0" indent="0" algn="ctr">
              <a:buNone/>
            </a:pPr>
            <a:r>
              <a:rPr lang="en-US" sz="1400" dirty="0"/>
              <a:t>Round-nose pliers, smooth grip, with opening spring</a:t>
            </a:r>
          </a:p>
        </p:txBody>
      </p:sp>
      <p:sp>
        <p:nvSpPr>
          <p:cNvPr id="14" name="Footer Placeholder 13">
            <a:extLst>
              <a:ext uri="{FF2B5EF4-FFF2-40B4-BE49-F238E27FC236}">
                <a16:creationId xmlns:a16="http://schemas.microsoft.com/office/drawing/2014/main" id="{E7DF131F-5963-872E-9D00-E3EE707C7A7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07813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8</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MICROFOX Electronic Cutters</a:t>
            </a:r>
          </a:p>
        </p:txBody>
      </p:sp>
      <p:pic>
        <p:nvPicPr>
          <p:cNvPr id="3" name="Picture 11">
            <a:extLst>
              <a:ext uri="{FF2B5EF4-FFF2-40B4-BE49-F238E27FC236}">
                <a16:creationId xmlns:a16="http://schemas.microsoft.com/office/drawing/2014/main" id="{3CE251DC-C77B-50EE-CF97-B24E8EC272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069" t="8686" r="-11407" b="405"/>
          <a:stretch/>
        </p:blipFill>
        <p:spPr bwMode="auto">
          <a:xfrm>
            <a:off x="260933" y="1886673"/>
            <a:ext cx="2330217" cy="175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2">
            <a:extLst>
              <a:ext uri="{FF2B5EF4-FFF2-40B4-BE49-F238E27FC236}">
                <a16:creationId xmlns:a16="http://schemas.microsoft.com/office/drawing/2014/main" id="{F57E4F23-6314-945F-2E0C-EB83B008910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582" t="12617" r="-10407" b="3047"/>
          <a:stretch/>
        </p:blipFill>
        <p:spPr bwMode="auto">
          <a:xfrm>
            <a:off x="2602953" y="2013995"/>
            <a:ext cx="2194144" cy="165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a:extLst>
              <a:ext uri="{FF2B5EF4-FFF2-40B4-BE49-F238E27FC236}">
                <a16:creationId xmlns:a16="http://schemas.microsoft.com/office/drawing/2014/main" id="{D24C2153-D8EC-1433-15C7-F1E1DE1A7C2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313" t="9132" r="-11776" b="-27"/>
          <a:stretch/>
        </p:blipFill>
        <p:spPr bwMode="auto">
          <a:xfrm>
            <a:off x="4819391" y="1922331"/>
            <a:ext cx="2330217" cy="175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5">
            <a:extLst>
              <a:ext uri="{FF2B5EF4-FFF2-40B4-BE49-F238E27FC236}">
                <a16:creationId xmlns:a16="http://schemas.microsoft.com/office/drawing/2014/main" id="{68F9163B-6726-4DF4-B39D-7929AE3A810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393" t="13083" r="-9214" b="-27"/>
          <a:stretch/>
        </p:blipFill>
        <p:spPr bwMode="auto">
          <a:xfrm>
            <a:off x="7138571" y="1922332"/>
            <a:ext cx="2330217" cy="1758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91649E0E-A9F1-B261-46B7-2FD1790DC7B6}"/>
              </a:ext>
            </a:extLst>
          </p:cNvPr>
          <p:cNvPicPr>
            <a:picLocks noChangeAspect="1"/>
          </p:cNvPicPr>
          <p:nvPr/>
        </p:nvPicPr>
        <p:blipFill>
          <a:blip r:embed="rId7"/>
          <a:stretch>
            <a:fillRect/>
          </a:stretch>
        </p:blipFill>
        <p:spPr>
          <a:xfrm>
            <a:off x="10163176" y="1973837"/>
            <a:ext cx="1409700" cy="1771754"/>
          </a:xfrm>
          <a:prstGeom prst="rect">
            <a:avLst/>
          </a:prstGeom>
        </p:spPr>
      </p:pic>
      <p:sp>
        <p:nvSpPr>
          <p:cNvPr id="10" name="Text Placeholder 3">
            <a:extLst>
              <a:ext uri="{FF2B5EF4-FFF2-40B4-BE49-F238E27FC236}">
                <a16:creationId xmlns:a16="http://schemas.microsoft.com/office/drawing/2014/main" id="{C9E834FC-74D1-D744-3FB9-1440BEFECA71}"/>
              </a:ext>
            </a:extLst>
          </p:cNvPr>
          <p:cNvSpPr txBox="1">
            <a:spLocks/>
          </p:cNvSpPr>
          <p:nvPr/>
        </p:nvSpPr>
        <p:spPr>
          <a:xfrm>
            <a:off x="119360" y="3951018"/>
            <a:ext cx="2515930" cy="156603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SB</a:t>
            </a:r>
          </a:p>
          <a:p>
            <a:pPr marL="0" indent="0" algn="ctr">
              <a:buNone/>
            </a:pPr>
            <a:r>
              <a:rPr lang="en-US" dirty="0"/>
              <a:t>1212489</a:t>
            </a:r>
          </a:p>
          <a:p>
            <a:pPr marL="0" indent="0" algn="ctr">
              <a:buNone/>
            </a:pPr>
            <a:r>
              <a:rPr lang="en-US" sz="1400" dirty="0"/>
              <a:t>Electronic diagonal cutter, round head, without chamfer, and with opening spring</a:t>
            </a:r>
          </a:p>
        </p:txBody>
      </p:sp>
      <p:sp>
        <p:nvSpPr>
          <p:cNvPr id="11" name="Text Placeholder 5">
            <a:extLst>
              <a:ext uri="{FF2B5EF4-FFF2-40B4-BE49-F238E27FC236}">
                <a16:creationId xmlns:a16="http://schemas.microsoft.com/office/drawing/2014/main" id="{35CC4858-32C4-BE39-9E50-34548F81EBA2}"/>
              </a:ext>
            </a:extLst>
          </p:cNvPr>
          <p:cNvSpPr txBox="1">
            <a:spLocks/>
          </p:cNvSpPr>
          <p:nvPr/>
        </p:nvSpPr>
        <p:spPr>
          <a:xfrm>
            <a:off x="2649287" y="3931095"/>
            <a:ext cx="2194143" cy="156603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E</a:t>
            </a:r>
          </a:p>
          <a:p>
            <a:pPr marL="0" indent="0" algn="ctr">
              <a:buNone/>
            </a:pPr>
            <a:r>
              <a:rPr lang="en-US" dirty="0"/>
              <a:t>1212494</a:t>
            </a:r>
          </a:p>
          <a:p>
            <a:pPr marL="0" indent="0" algn="ctr">
              <a:buNone/>
            </a:pPr>
            <a:r>
              <a:rPr lang="en-US" sz="1400" dirty="0"/>
              <a:t>Electronic front cutter, without chamfer, with opening spring</a:t>
            </a:r>
          </a:p>
        </p:txBody>
      </p:sp>
      <p:sp>
        <p:nvSpPr>
          <p:cNvPr id="12" name="Text Placeholder 7">
            <a:extLst>
              <a:ext uri="{FF2B5EF4-FFF2-40B4-BE49-F238E27FC236}">
                <a16:creationId xmlns:a16="http://schemas.microsoft.com/office/drawing/2014/main" id="{535865FE-4161-091A-D3EE-FC20AE6281C8}"/>
              </a:ext>
            </a:extLst>
          </p:cNvPr>
          <p:cNvSpPr txBox="1">
            <a:spLocks/>
          </p:cNvSpPr>
          <p:nvPr/>
        </p:nvSpPr>
        <p:spPr>
          <a:xfrm>
            <a:off x="4844550" y="3928172"/>
            <a:ext cx="2330217" cy="1691578"/>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EO</a:t>
            </a:r>
          </a:p>
          <a:p>
            <a:pPr marL="0" indent="0" algn="ctr">
              <a:buNone/>
            </a:pPr>
            <a:r>
              <a:rPr lang="en-US" dirty="0"/>
              <a:t>1212495</a:t>
            </a:r>
          </a:p>
          <a:p>
            <a:pPr marL="0" indent="0" algn="ctr">
              <a:buNone/>
            </a:pPr>
            <a:r>
              <a:rPr lang="en-US" sz="1400" dirty="0"/>
              <a:t>Electronic front cutter, 20° angle, without chamfer, with opening spring</a:t>
            </a:r>
          </a:p>
        </p:txBody>
      </p:sp>
      <p:sp>
        <p:nvSpPr>
          <p:cNvPr id="14" name="Text Placeholder 9">
            <a:extLst>
              <a:ext uri="{FF2B5EF4-FFF2-40B4-BE49-F238E27FC236}">
                <a16:creationId xmlns:a16="http://schemas.microsoft.com/office/drawing/2014/main" id="{7CB5D156-1CDB-06FE-5FA1-CFA2E6D2A674}"/>
              </a:ext>
            </a:extLst>
          </p:cNvPr>
          <p:cNvSpPr txBox="1">
            <a:spLocks/>
          </p:cNvSpPr>
          <p:nvPr/>
        </p:nvSpPr>
        <p:spPr>
          <a:xfrm>
            <a:off x="7298497" y="3919823"/>
            <a:ext cx="2426528" cy="169992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SP</a:t>
            </a:r>
          </a:p>
          <a:p>
            <a:pPr marL="0" indent="0" algn="ctr">
              <a:buNone/>
            </a:pPr>
            <a:r>
              <a:rPr lang="en-US" dirty="0"/>
              <a:t>1212488</a:t>
            </a:r>
          </a:p>
          <a:p>
            <a:pPr marL="0" indent="0" algn="ctr">
              <a:buNone/>
            </a:pPr>
            <a:r>
              <a:rPr lang="en-US" sz="1400" dirty="0"/>
              <a:t>Electronic diagonal cutter, tapered head, angled (21°), without chamfer.</a:t>
            </a:r>
          </a:p>
        </p:txBody>
      </p:sp>
      <p:sp>
        <p:nvSpPr>
          <p:cNvPr id="15" name="Text Placeholder 9">
            <a:extLst>
              <a:ext uri="{FF2B5EF4-FFF2-40B4-BE49-F238E27FC236}">
                <a16:creationId xmlns:a16="http://schemas.microsoft.com/office/drawing/2014/main" id="{68B0614E-6707-F05E-CE8F-B37960E4292A}"/>
              </a:ext>
            </a:extLst>
          </p:cNvPr>
          <p:cNvSpPr txBox="1">
            <a:spLocks/>
          </p:cNvSpPr>
          <p:nvPr/>
        </p:nvSpPr>
        <p:spPr>
          <a:xfrm>
            <a:off x="9904071" y="3917813"/>
            <a:ext cx="2169228" cy="195911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SP 1</a:t>
            </a:r>
          </a:p>
          <a:p>
            <a:pPr marL="0" indent="0" algn="ctr">
              <a:buNone/>
            </a:pPr>
            <a:r>
              <a:rPr lang="en-US" dirty="0"/>
              <a:t>1212487</a:t>
            </a:r>
          </a:p>
          <a:p>
            <a:pPr marL="0" indent="0" algn="ctr">
              <a:buNone/>
            </a:pPr>
            <a:r>
              <a:rPr lang="en-US" sz="1400" dirty="0"/>
              <a:t>Electronic diagonal cutter, tapered head, without chamfer.</a:t>
            </a:r>
          </a:p>
        </p:txBody>
      </p:sp>
      <p:sp>
        <p:nvSpPr>
          <p:cNvPr id="16" name="Footer Placeholder 15">
            <a:extLst>
              <a:ext uri="{FF2B5EF4-FFF2-40B4-BE49-F238E27FC236}">
                <a16:creationId xmlns:a16="http://schemas.microsoft.com/office/drawing/2014/main" id="{4E6318CD-5DBC-5DEA-F74E-7BFC5FA624CD}"/>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16689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39</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MICROFOX Electric Static Discharge (ESD) Pliers and Cutters</a:t>
            </a:r>
          </a:p>
        </p:txBody>
      </p:sp>
      <p:sp>
        <p:nvSpPr>
          <p:cNvPr id="25" name="Text Placeholder 3">
            <a:extLst>
              <a:ext uri="{FF2B5EF4-FFF2-40B4-BE49-F238E27FC236}">
                <a16:creationId xmlns:a16="http://schemas.microsoft.com/office/drawing/2014/main" id="{15DC1506-BB7C-1AA9-D3EB-B23E124C320D}"/>
              </a:ext>
            </a:extLst>
          </p:cNvPr>
          <p:cNvSpPr txBox="1">
            <a:spLocks/>
          </p:cNvSpPr>
          <p:nvPr/>
        </p:nvSpPr>
        <p:spPr>
          <a:xfrm>
            <a:off x="539750" y="2925169"/>
            <a:ext cx="264328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P ESD</a:t>
            </a:r>
          </a:p>
          <a:p>
            <a:pPr marL="0" indent="0" algn="ctr">
              <a:buNone/>
            </a:pPr>
            <a:r>
              <a:rPr lang="en-US" dirty="0"/>
              <a:t>1212482</a:t>
            </a:r>
          </a:p>
          <a:p>
            <a:pPr marL="0" indent="0" algn="ctr">
              <a:buNone/>
            </a:pPr>
            <a:r>
              <a:rPr lang="en-US" sz="1400" dirty="0"/>
              <a:t>Needle-nose pliers </a:t>
            </a:r>
          </a:p>
        </p:txBody>
      </p:sp>
      <p:sp>
        <p:nvSpPr>
          <p:cNvPr id="26" name="Text Placeholder 5">
            <a:extLst>
              <a:ext uri="{FF2B5EF4-FFF2-40B4-BE49-F238E27FC236}">
                <a16:creationId xmlns:a16="http://schemas.microsoft.com/office/drawing/2014/main" id="{CE84FDD3-A8B3-9F13-9F54-FF4D9BC36FE6}"/>
              </a:ext>
            </a:extLst>
          </p:cNvPr>
          <p:cNvSpPr txBox="1">
            <a:spLocks/>
          </p:cNvSpPr>
          <p:nvPr/>
        </p:nvSpPr>
        <p:spPr>
          <a:xfrm>
            <a:off x="3147973" y="2937004"/>
            <a:ext cx="2635792" cy="90579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R ESD</a:t>
            </a:r>
          </a:p>
          <a:p>
            <a:pPr marL="0" indent="0" algn="ctr">
              <a:buNone/>
            </a:pPr>
            <a:r>
              <a:rPr lang="en-US" dirty="0"/>
              <a:t>1212481</a:t>
            </a:r>
          </a:p>
          <a:p>
            <a:pPr marL="0" indent="0" algn="ctr">
              <a:buNone/>
            </a:pPr>
            <a:r>
              <a:rPr lang="en-US" sz="1400" dirty="0"/>
              <a:t>Round-nose pliers</a:t>
            </a:r>
          </a:p>
        </p:txBody>
      </p:sp>
      <p:sp>
        <p:nvSpPr>
          <p:cNvPr id="27" name="Text Placeholder 16">
            <a:extLst>
              <a:ext uri="{FF2B5EF4-FFF2-40B4-BE49-F238E27FC236}">
                <a16:creationId xmlns:a16="http://schemas.microsoft.com/office/drawing/2014/main" id="{C098A955-01D6-7836-DF2F-72B60C524B39}"/>
              </a:ext>
            </a:extLst>
          </p:cNvPr>
          <p:cNvSpPr txBox="1">
            <a:spLocks/>
          </p:cNvSpPr>
          <p:nvPr/>
        </p:nvSpPr>
        <p:spPr>
          <a:xfrm>
            <a:off x="6217598" y="2937004"/>
            <a:ext cx="2590739" cy="112571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F ESD</a:t>
            </a:r>
          </a:p>
          <a:p>
            <a:pPr marL="0" indent="0" algn="ctr">
              <a:buNone/>
            </a:pPr>
            <a:r>
              <a:rPr lang="en-US" dirty="0"/>
              <a:t>1212484</a:t>
            </a:r>
          </a:p>
          <a:p>
            <a:pPr marL="0" indent="0" algn="ctr">
              <a:buNone/>
            </a:pPr>
            <a:r>
              <a:rPr lang="en-US" sz="1400" dirty="0"/>
              <a:t>Flat-nose pliers</a:t>
            </a:r>
          </a:p>
        </p:txBody>
      </p:sp>
      <p:sp>
        <p:nvSpPr>
          <p:cNvPr id="28" name="Text Placeholder 18">
            <a:extLst>
              <a:ext uri="{FF2B5EF4-FFF2-40B4-BE49-F238E27FC236}">
                <a16:creationId xmlns:a16="http://schemas.microsoft.com/office/drawing/2014/main" id="{962A66E5-1FF1-0289-F958-FF268F215AA0}"/>
              </a:ext>
            </a:extLst>
          </p:cNvPr>
          <p:cNvSpPr txBox="1">
            <a:spLocks/>
          </p:cNvSpPr>
          <p:nvPr/>
        </p:nvSpPr>
        <p:spPr>
          <a:xfrm>
            <a:off x="9022588" y="2937003"/>
            <a:ext cx="3169412"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PC ESD</a:t>
            </a:r>
          </a:p>
          <a:p>
            <a:pPr marL="0" indent="0" algn="ctr">
              <a:buNone/>
            </a:pPr>
            <a:r>
              <a:rPr lang="en-US" dirty="0"/>
              <a:t>1212483</a:t>
            </a:r>
          </a:p>
          <a:p>
            <a:pPr marL="0" indent="0" algn="ctr">
              <a:buNone/>
            </a:pPr>
            <a:r>
              <a:rPr lang="en-US" sz="1400" dirty="0"/>
              <a:t>Needle-nose pliers, with a 45° angle </a:t>
            </a:r>
          </a:p>
        </p:txBody>
      </p:sp>
      <p:sp>
        <p:nvSpPr>
          <p:cNvPr id="30" name="Text Placeholder 5">
            <a:extLst>
              <a:ext uri="{FF2B5EF4-FFF2-40B4-BE49-F238E27FC236}">
                <a16:creationId xmlns:a16="http://schemas.microsoft.com/office/drawing/2014/main" id="{A99CAD1C-36EA-FC66-7231-BAD70DFA38C9}"/>
              </a:ext>
            </a:extLst>
          </p:cNvPr>
          <p:cNvSpPr txBox="1">
            <a:spLocks/>
          </p:cNvSpPr>
          <p:nvPr/>
        </p:nvSpPr>
        <p:spPr>
          <a:xfrm>
            <a:off x="1961688" y="4374222"/>
            <a:ext cx="264328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E ESD</a:t>
            </a:r>
          </a:p>
          <a:p>
            <a:pPr marL="0" indent="0" algn="ctr">
              <a:buNone/>
            </a:pPr>
            <a:r>
              <a:rPr lang="en-US" dirty="0"/>
              <a:t>1212485</a:t>
            </a:r>
          </a:p>
          <a:p>
            <a:pPr marL="0" indent="0" algn="ctr">
              <a:buNone/>
            </a:pPr>
            <a:r>
              <a:rPr lang="en-US" sz="1400" dirty="0"/>
              <a:t>Electronic front cutter, without chamfer, with opening spring</a:t>
            </a:r>
          </a:p>
        </p:txBody>
      </p:sp>
      <p:sp>
        <p:nvSpPr>
          <p:cNvPr id="31" name="Text Placeholder 7">
            <a:extLst>
              <a:ext uri="{FF2B5EF4-FFF2-40B4-BE49-F238E27FC236}">
                <a16:creationId xmlns:a16="http://schemas.microsoft.com/office/drawing/2014/main" id="{9345D624-675C-1C39-A7FA-B8E7864CFA9B}"/>
              </a:ext>
            </a:extLst>
          </p:cNvPr>
          <p:cNvSpPr txBox="1">
            <a:spLocks/>
          </p:cNvSpPr>
          <p:nvPr/>
        </p:nvSpPr>
        <p:spPr>
          <a:xfrm>
            <a:off x="5916254" y="4369266"/>
            <a:ext cx="2787908"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MICROFOX – PC</a:t>
            </a:r>
          </a:p>
          <a:p>
            <a:pPr marL="0" indent="0" algn="ctr">
              <a:buNone/>
            </a:pPr>
            <a:r>
              <a:rPr lang="en-US" dirty="0"/>
              <a:t>1212492</a:t>
            </a:r>
            <a:endParaRPr lang="en-US" sz="1400" dirty="0"/>
          </a:p>
          <a:p>
            <a:pPr marL="0" indent="0" algn="ctr">
              <a:buNone/>
            </a:pPr>
            <a:r>
              <a:rPr lang="en-US" sz="1400" dirty="0"/>
              <a:t>Needle-nose pliers, 45° angle, smooth grip, with opening spring</a:t>
            </a:r>
          </a:p>
        </p:txBody>
      </p:sp>
      <p:sp>
        <p:nvSpPr>
          <p:cNvPr id="3" name="Footer Placeholder 2">
            <a:extLst>
              <a:ext uri="{FF2B5EF4-FFF2-40B4-BE49-F238E27FC236}">
                <a16:creationId xmlns:a16="http://schemas.microsoft.com/office/drawing/2014/main" id="{E4D233B8-A7B9-3E7E-4EBD-A0504F39843B}"/>
              </a:ext>
            </a:extLst>
          </p:cNvPr>
          <p:cNvSpPr>
            <a:spLocks noGrp="1"/>
          </p:cNvSpPr>
          <p:nvPr>
            <p:ph type="ftr" sz="quarter" idx="17"/>
          </p:nvPr>
        </p:nvSpPr>
        <p:spPr/>
        <p:txBody>
          <a:bodyPr/>
          <a:lstStyle/>
          <a:p>
            <a:r>
              <a:rPr lang="en-US"/>
              <a:t>Updated January 2023</a:t>
            </a:r>
            <a:endParaRPr lang="de-DE" dirty="0"/>
          </a:p>
        </p:txBody>
      </p:sp>
      <p:sp>
        <p:nvSpPr>
          <p:cNvPr id="5" name="AutoShape 4">
            <a:extLst>
              <a:ext uri="{FF2B5EF4-FFF2-40B4-BE49-F238E27FC236}">
                <a16:creationId xmlns:a16="http://schemas.microsoft.com/office/drawing/2014/main" id="{CB930A8C-7D6E-5C3E-8C8F-8E3F5A19BD6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4" name="Picture 13">
            <a:extLst>
              <a:ext uri="{FF2B5EF4-FFF2-40B4-BE49-F238E27FC236}">
                <a16:creationId xmlns:a16="http://schemas.microsoft.com/office/drawing/2014/main" id="{5B307386-DB0A-623A-C19B-D231E7DCCFA6}"/>
              </a:ext>
            </a:extLst>
          </p:cNvPr>
          <p:cNvPicPr>
            <a:picLocks noChangeAspect="1"/>
          </p:cNvPicPr>
          <p:nvPr/>
        </p:nvPicPr>
        <p:blipFill>
          <a:blip r:embed="rId3"/>
          <a:stretch>
            <a:fillRect/>
          </a:stretch>
        </p:blipFill>
        <p:spPr>
          <a:xfrm>
            <a:off x="892759" y="1250694"/>
            <a:ext cx="1804205" cy="1804205"/>
          </a:xfrm>
          <a:prstGeom prst="rect">
            <a:avLst/>
          </a:prstGeom>
        </p:spPr>
      </p:pic>
      <p:pic>
        <p:nvPicPr>
          <p:cNvPr id="17" name="Picture 16">
            <a:extLst>
              <a:ext uri="{FF2B5EF4-FFF2-40B4-BE49-F238E27FC236}">
                <a16:creationId xmlns:a16="http://schemas.microsoft.com/office/drawing/2014/main" id="{6931FF72-EF0F-E879-F920-08D9E52057AD}"/>
              </a:ext>
            </a:extLst>
          </p:cNvPr>
          <p:cNvPicPr>
            <a:picLocks noChangeAspect="1"/>
          </p:cNvPicPr>
          <p:nvPr/>
        </p:nvPicPr>
        <p:blipFill>
          <a:blip r:embed="rId4"/>
          <a:stretch>
            <a:fillRect/>
          </a:stretch>
        </p:blipFill>
        <p:spPr>
          <a:xfrm>
            <a:off x="3647428" y="1338874"/>
            <a:ext cx="1636881" cy="1636881"/>
          </a:xfrm>
          <a:prstGeom prst="rect">
            <a:avLst/>
          </a:prstGeom>
        </p:spPr>
      </p:pic>
      <p:pic>
        <p:nvPicPr>
          <p:cNvPr id="20" name="Picture 19">
            <a:extLst>
              <a:ext uri="{FF2B5EF4-FFF2-40B4-BE49-F238E27FC236}">
                <a16:creationId xmlns:a16="http://schemas.microsoft.com/office/drawing/2014/main" id="{7FE95970-A471-DEA6-93F4-995DACA959EF}"/>
              </a:ext>
            </a:extLst>
          </p:cNvPr>
          <p:cNvPicPr>
            <a:picLocks noChangeAspect="1"/>
          </p:cNvPicPr>
          <p:nvPr/>
        </p:nvPicPr>
        <p:blipFill>
          <a:blip r:embed="rId5"/>
          <a:stretch>
            <a:fillRect/>
          </a:stretch>
        </p:blipFill>
        <p:spPr>
          <a:xfrm>
            <a:off x="6674975" y="1376759"/>
            <a:ext cx="1552074" cy="1552074"/>
          </a:xfrm>
          <a:prstGeom prst="rect">
            <a:avLst/>
          </a:prstGeom>
        </p:spPr>
      </p:pic>
      <p:pic>
        <p:nvPicPr>
          <p:cNvPr id="1032" name="Picture 8">
            <a:extLst>
              <a:ext uri="{FF2B5EF4-FFF2-40B4-BE49-F238E27FC236}">
                <a16:creationId xmlns:a16="http://schemas.microsoft.com/office/drawing/2014/main" id="{69DB8A76-E51C-8F1D-A37F-09B5F91E609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25241" y="1376759"/>
            <a:ext cx="1564105" cy="156410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6A272C12-70F8-B3D2-F8DA-5762D1D4EA3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7856" y="4369266"/>
            <a:ext cx="1615341" cy="161608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3ACFCE75-191E-1427-4418-284DCBB814E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32310" y="4470370"/>
            <a:ext cx="1616090" cy="16160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0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Cutting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9" name="Inhalt">
            <a:extLst>
              <a:ext uri="{FF2B5EF4-FFF2-40B4-BE49-F238E27FC236}">
                <a16:creationId xmlns:a16="http://schemas.microsoft.com/office/drawing/2014/main" id="{ABECA1EB-BCCB-5831-41CD-6ECB0BF8FF17}"/>
              </a:ext>
            </a:extLst>
          </p:cNvPr>
          <p:cNvSpPr>
            <a:spLocks noGrp="1"/>
          </p:cNvSpPr>
          <p:nvPr>
            <p:ph idx="15"/>
          </p:nvPr>
        </p:nvSpPr>
        <p:spPr>
          <a:xfrm>
            <a:off x="550873" y="1558440"/>
            <a:ext cx="7344956" cy="4392568"/>
          </a:xfrm>
        </p:spPr>
        <p:txBody>
          <a:bodyPr/>
          <a:lstStyle/>
          <a:p>
            <a:r>
              <a:rPr lang="en-US" dirty="0"/>
              <a:t>Clean cutting without squeezing the cable</a:t>
            </a:r>
          </a:p>
          <a:p>
            <a:r>
              <a:rPr lang="en-US" dirty="0"/>
              <a:t>Ergonomic</a:t>
            </a:r>
          </a:p>
          <a:p>
            <a:r>
              <a:rPr lang="en-US" dirty="0"/>
              <a:t>Special cutting-edge geometry</a:t>
            </a:r>
          </a:p>
          <a:p>
            <a:r>
              <a:rPr lang="en-US" dirty="0"/>
              <a:t>Special hardened steel</a:t>
            </a:r>
          </a:p>
          <a:p>
            <a:r>
              <a:rPr lang="en-US" dirty="0"/>
              <a:t>Non-slip handles</a:t>
            </a:r>
          </a:p>
          <a:p>
            <a:r>
              <a:rPr lang="en-US" dirty="0"/>
              <a:t>Styles</a:t>
            </a:r>
          </a:p>
          <a:p>
            <a:pPr lvl="1"/>
            <a:r>
              <a:rPr lang="en-US" dirty="0"/>
              <a:t>Electrician’s scissors</a:t>
            </a:r>
          </a:p>
          <a:p>
            <a:pPr lvl="1"/>
            <a:r>
              <a:rPr lang="en-US" dirty="0"/>
              <a:t>Front cable cutters</a:t>
            </a:r>
          </a:p>
          <a:p>
            <a:pPr lvl="1"/>
            <a:r>
              <a:rPr lang="en-US" dirty="0"/>
              <a:t>Ring Cable cutters</a:t>
            </a:r>
          </a:p>
          <a:p>
            <a:pPr lvl="1"/>
            <a:r>
              <a:rPr lang="en-US" dirty="0"/>
              <a:t>VDE front and diagonal cutters</a:t>
            </a:r>
          </a:p>
          <a:p>
            <a:pPr lvl="1"/>
            <a:r>
              <a:rPr lang="en-US" dirty="0"/>
              <a:t>Special cutting tool</a:t>
            </a:r>
          </a:p>
        </p:txBody>
      </p:sp>
      <p:pic>
        <p:nvPicPr>
          <p:cNvPr id="10" name="Picture 9">
            <a:extLst>
              <a:ext uri="{FF2B5EF4-FFF2-40B4-BE49-F238E27FC236}">
                <a16:creationId xmlns:a16="http://schemas.microsoft.com/office/drawing/2014/main" id="{844006B8-7AD0-2F04-A171-0A7C9DC203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79402" y="2700367"/>
            <a:ext cx="3843023" cy="2252806"/>
          </a:xfrm>
          <a:prstGeom prst="rect">
            <a:avLst/>
          </a:prstGeom>
        </p:spPr>
      </p:pic>
      <p:pic>
        <p:nvPicPr>
          <p:cNvPr id="11" name="Picture 10">
            <a:extLst>
              <a:ext uri="{FF2B5EF4-FFF2-40B4-BE49-F238E27FC236}">
                <a16:creationId xmlns:a16="http://schemas.microsoft.com/office/drawing/2014/main" id="{E518DE1E-D258-E74F-9E61-68BAAC99CA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81954" y="140461"/>
            <a:ext cx="2839687" cy="2721094"/>
          </a:xfrm>
          <a:prstGeom prst="rect">
            <a:avLst/>
          </a:prstGeom>
        </p:spPr>
      </p:pic>
      <p:pic>
        <p:nvPicPr>
          <p:cNvPr id="12" name="Picture 11">
            <a:extLst>
              <a:ext uri="{FF2B5EF4-FFF2-40B4-BE49-F238E27FC236}">
                <a16:creationId xmlns:a16="http://schemas.microsoft.com/office/drawing/2014/main" id="{2EF19676-392F-09A2-DD33-9945FE94B1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97702" y="3347144"/>
            <a:ext cx="2969576" cy="2603864"/>
          </a:xfrm>
          <a:prstGeom prst="rect">
            <a:avLst/>
          </a:prstGeom>
        </p:spPr>
      </p:pic>
      <p:sp>
        <p:nvSpPr>
          <p:cNvPr id="4" name="Footer Placeholder 3">
            <a:extLst>
              <a:ext uri="{FF2B5EF4-FFF2-40B4-BE49-F238E27FC236}">
                <a16:creationId xmlns:a16="http://schemas.microsoft.com/office/drawing/2014/main" id="{D9F57180-F1FA-0A77-CB09-66B5F3F4B330}"/>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72332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0</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amp; Crimp Sets</a:t>
            </a:r>
          </a:p>
        </p:txBody>
      </p:sp>
      <p:pic>
        <p:nvPicPr>
          <p:cNvPr id="3" name="Picture 2">
            <a:extLst>
              <a:ext uri="{FF2B5EF4-FFF2-40B4-BE49-F238E27FC236}">
                <a16:creationId xmlns:a16="http://schemas.microsoft.com/office/drawing/2014/main" id="{566CB26B-30BE-E9C2-9FDD-99236FBBA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9565" y="994298"/>
            <a:ext cx="4216893" cy="4216893"/>
          </a:xfrm>
          <a:prstGeom prst="rect">
            <a:avLst/>
          </a:prstGeom>
        </p:spPr>
      </p:pic>
      <p:sp>
        <p:nvSpPr>
          <p:cNvPr id="4" name="Content Placeholder 3">
            <a:extLst>
              <a:ext uri="{FF2B5EF4-FFF2-40B4-BE49-F238E27FC236}">
                <a16:creationId xmlns:a16="http://schemas.microsoft.com/office/drawing/2014/main" id="{28F1C58A-D5A7-79E0-1C27-59DA721714D8}"/>
              </a:ext>
            </a:extLst>
          </p:cNvPr>
          <p:cNvSpPr txBox="1">
            <a:spLocks/>
          </p:cNvSpPr>
          <p:nvPr/>
        </p:nvSpPr>
        <p:spPr>
          <a:xfrm>
            <a:off x="760600" y="2308279"/>
            <a:ext cx="6603702" cy="3235994"/>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Assortment metal box</a:t>
            </a:r>
          </a:p>
          <a:p>
            <a:pPr>
              <a:spcBef>
                <a:spcPts val="600"/>
              </a:spcBef>
            </a:pPr>
            <a:r>
              <a:rPr lang="en-US" dirty="0"/>
              <a:t>Consisting of:</a:t>
            </a:r>
          </a:p>
          <a:p>
            <a:pPr lvl="1">
              <a:spcBef>
                <a:spcPts val="600"/>
              </a:spcBef>
            </a:pPr>
            <a:r>
              <a:rPr lang="en-US" dirty="0"/>
              <a:t>Ferrules  (up to 3100 pcs)</a:t>
            </a:r>
          </a:p>
          <a:p>
            <a:pPr lvl="1">
              <a:spcBef>
                <a:spcPts val="600"/>
              </a:spcBef>
            </a:pPr>
            <a:r>
              <a:rPr lang="en-US" dirty="0"/>
              <a:t>Quick WIREFOX 6 stripping tool for wires and conductors up to 10 AWG</a:t>
            </a:r>
          </a:p>
          <a:p>
            <a:pPr lvl="1">
              <a:spcBef>
                <a:spcPts val="600"/>
              </a:spcBef>
            </a:pPr>
            <a:r>
              <a:rPr lang="en-US" dirty="0"/>
              <a:t>CRIMPFOX Duo 10 crimping pliers with integrated pressure lock for ferrules up to 8 AWG insertion from the side and front</a:t>
            </a:r>
          </a:p>
          <a:p>
            <a:pPr>
              <a:spcBef>
                <a:spcPts val="600"/>
              </a:spcBef>
            </a:pPr>
            <a:r>
              <a:rPr lang="en-US" dirty="0" err="1"/>
              <a:t>Crimpset</a:t>
            </a:r>
            <a:r>
              <a:rPr lang="en-US" dirty="0"/>
              <a:t> 6  1202072</a:t>
            </a:r>
          </a:p>
          <a:p>
            <a:pPr>
              <a:spcBef>
                <a:spcPts val="600"/>
              </a:spcBef>
            </a:pPr>
            <a:r>
              <a:rPr lang="en-US" dirty="0" err="1"/>
              <a:t>Crimpset</a:t>
            </a:r>
            <a:r>
              <a:rPr lang="en-US" dirty="0"/>
              <a:t> 25  1202580</a:t>
            </a:r>
          </a:p>
          <a:p>
            <a:pPr>
              <a:spcBef>
                <a:spcPts val="600"/>
              </a:spcBef>
            </a:pPr>
            <a:endParaRPr lang="en-US" dirty="0"/>
          </a:p>
        </p:txBody>
      </p:sp>
      <p:sp>
        <p:nvSpPr>
          <p:cNvPr id="5" name="Footer Placeholder 4">
            <a:extLst>
              <a:ext uri="{FF2B5EF4-FFF2-40B4-BE49-F238E27FC236}">
                <a16:creationId xmlns:a16="http://schemas.microsoft.com/office/drawing/2014/main" id="{ADC93D3F-0644-5757-0BFC-6943CDECCB44}"/>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76515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1</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Ferrule Sets</a:t>
            </a:r>
          </a:p>
        </p:txBody>
      </p:sp>
      <p:pic>
        <p:nvPicPr>
          <p:cNvPr id="3" name="Picture 2" descr="A picture containing text, different, several&#10;&#10;Description automatically generated">
            <a:extLst>
              <a:ext uri="{FF2B5EF4-FFF2-40B4-BE49-F238E27FC236}">
                <a16:creationId xmlns:a16="http://schemas.microsoft.com/office/drawing/2014/main" id="{A3A51DC7-953D-7452-5D7E-3CAFFAEC5E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5145" y="584461"/>
            <a:ext cx="5414192" cy="5037380"/>
          </a:xfrm>
          <a:prstGeom prst="rect">
            <a:avLst/>
          </a:prstGeom>
        </p:spPr>
      </p:pic>
      <p:sp>
        <p:nvSpPr>
          <p:cNvPr id="4" name="Content Placeholder 3">
            <a:extLst>
              <a:ext uri="{FF2B5EF4-FFF2-40B4-BE49-F238E27FC236}">
                <a16:creationId xmlns:a16="http://schemas.microsoft.com/office/drawing/2014/main" id="{962413B6-43BD-306B-C9A9-A8779C9118EE}"/>
              </a:ext>
            </a:extLst>
          </p:cNvPr>
          <p:cNvSpPr txBox="1">
            <a:spLocks/>
          </p:cNvSpPr>
          <p:nvPr/>
        </p:nvSpPr>
        <p:spPr>
          <a:xfrm>
            <a:off x="642394" y="2236269"/>
            <a:ext cx="6396581" cy="296346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Ferrule assortment boxes</a:t>
            </a:r>
          </a:p>
          <a:p>
            <a:pPr>
              <a:spcBef>
                <a:spcPts val="600"/>
              </a:spcBef>
            </a:pPr>
            <a:r>
              <a:rPr lang="en-US" dirty="0"/>
              <a:t>Consisting of ferrules  (up to 2000 pcs)</a:t>
            </a:r>
          </a:p>
          <a:p>
            <a:pPr>
              <a:spcBef>
                <a:spcPts val="600"/>
              </a:spcBef>
            </a:pPr>
            <a:r>
              <a:rPr lang="en-US" dirty="0"/>
              <a:t>Designed to keep the workshop tidy</a:t>
            </a:r>
          </a:p>
          <a:p>
            <a:pPr>
              <a:spcBef>
                <a:spcPts val="600"/>
              </a:spcBef>
            </a:pPr>
            <a:r>
              <a:rPr lang="en-US" dirty="0"/>
              <a:t>Color coding and transparent cover facilitate quick access</a:t>
            </a:r>
          </a:p>
          <a:p>
            <a:pPr>
              <a:spcBef>
                <a:spcPts val="600"/>
              </a:spcBef>
            </a:pPr>
            <a:r>
              <a:rPr lang="en-US" dirty="0"/>
              <a:t>Can be hung up on perforated board walls</a:t>
            </a:r>
          </a:p>
        </p:txBody>
      </p:sp>
      <p:sp>
        <p:nvSpPr>
          <p:cNvPr id="5" name="Footer Placeholder 4">
            <a:extLst>
              <a:ext uri="{FF2B5EF4-FFF2-40B4-BE49-F238E27FC236}">
                <a16:creationId xmlns:a16="http://schemas.microsoft.com/office/drawing/2014/main" id="{09EAA7B3-3D7D-0EA0-7A72-D5CAF610C788}"/>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191895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EE753D-699A-8BBE-AA66-CA2DB063F633}"/>
              </a:ext>
            </a:extLst>
          </p:cNvPr>
          <p:cNvPicPr>
            <a:picLocks noChangeAspect="1"/>
          </p:cNvPicPr>
          <p:nvPr/>
        </p:nvPicPr>
        <p:blipFill>
          <a:blip r:embed="rId2"/>
          <a:stretch>
            <a:fillRect/>
          </a:stretch>
        </p:blipFill>
        <p:spPr>
          <a:xfrm>
            <a:off x="2473847" y="1167188"/>
            <a:ext cx="3181350" cy="2419350"/>
          </a:xfrm>
          <a:prstGeom prst="rect">
            <a:avLst/>
          </a:prstGeom>
        </p:spPr>
      </p:pic>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a:t>
            </a:r>
          </a:p>
        </p:txBody>
      </p:sp>
      <p:pic>
        <p:nvPicPr>
          <p:cNvPr id="3" name="Picture 2">
            <a:extLst>
              <a:ext uri="{FF2B5EF4-FFF2-40B4-BE49-F238E27FC236}">
                <a16:creationId xmlns:a16="http://schemas.microsoft.com/office/drawing/2014/main" id="{E513A4AC-65E7-EEF2-4B49-E55D79E226F1}"/>
              </a:ext>
            </a:extLst>
          </p:cNvPr>
          <p:cNvPicPr>
            <a:picLocks noChangeAspect="1"/>
          </p:cNvPicPr>
          <p:nvPr/>
        </p:nvPicPr>
        <p:blipFill>
          <a:blip r:embed="rId4"/>
          <a:stretch>
            <a:fillRect/>
          </a:stretch>
        </p:blipFill>
        <p:spPr>
          <a:xfrm>
            <a:off x="7943849" y="1000467"/>
            <a:ext cx="3381375" cy="2305050"/>
          </a:xfrm>
          <a:prstGeom prst="rect">
            <a:avLst/>
          </a:prstGeom>
        </p:spPr>
      </p:pic>
      <p:sp>
        <p:nvSpPr>
          <p:cNvPr id="5" name="Content Placeholder 3">
            <a:extLst>
              <a:ext uri="{FF2B5EF4-FFF2-40B4-BE49-F238E27FC236}">
                <a16:creationId xmlns:a16="http://schemas.microsoft.com/office/drawing/2014/main" id="{6AB98299-46A2-D279-132F-15017213DAFC}"/>
              </a:ext>
            </a:extLst>
          </p:cNvPr>
          <p:cNvSpPr txBox="1">
            <a:spLocks/>
          </p:cNvSpPr>
          <p:nvPr/>
        </p:nvSpPr>
        <p:spPr>
          <a:xfrm>
            <a:off x="146069" y="3111728"/>
            <a:ext cx="4435636" cy="293467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WRAP #1212505 </a:t>
            </a:r>
          </a:p>
          <a:p>
            <a:pPr lvl="1">
              <a:spcBef>
                <a:spcPts val="600"/>
              </a:spcBef>
            </a:pPr>
            <a:r>
              <a:rPr lang="en-US" dirty="0"/>
              <a:t>Cable cutter, VDE tested</a:t>
            </a:r>
          </a:p>
          <a:p>
            <a:pPr lvl="1">
              <a:spcBef>
                <a:spcPts val="600"/>
              </a:spcBef>
            </a:pPr>
            <a:r>
              <a:rPr lang="en-US" dirty="0"/>
              <a:t>Diagonal cutter, VDE tested</a:t>
            </a:r>
          </a:p>
          <a:p>
            <a:pPr lvl="1">
              <a:spcBef>
                <a:spcPts val="600"/>
              </a:spcBef>
            </a:pPr>
            <a:r>
              <a:rPr lang="en-US" dirty="0"/>
              <a:t>Voltage tester, for DC and AC voltages of 6 V to 400 V</a:t>
            </a:r>
          </a:p>
          <a:p>
            <a:pPr lvl="1">
              <a:spcBef>
                <a:spcPts val="600"/>
              </a:spcBef>
            </a:pPr>
            <a:r>
              <a:rPr lang="en-US" dirty="0"/>
              <a:t>Screwdrivers</a:t>
            </a:r>
          </a:p>
          <a:p>
            <a:pPr lvl="1">
              <a:spcBef>
                <a:spcPts val="600"/>
              </a:spcBef>
            </a:pPr>
            <a:r>
              <a:rPr lang="en-US" dirty="0"/>
              <a:t>Combination pliers, VDE design</a:t>
            </a:r>
          </a:p>
          <a:p>
            <a:pPr lvl="1">
              <a:spcBef>
                <a:spcPts val="600"/>
              </a:spcBef>
            </a:pPr>
            <a:r>
              <a:rPr lang="en-US" dirty="0"/>
              <a:t>Needle-nose pliers, VDE design</a:t>
            </a:r>
          </a:p>
        </p:txBody>
      </p:sp>
      <p:sp>
        <p:nvSpPr>
          <p:cNvPr id="6" name="Content Placeholder 3">
            <a:extLst>
              <a:ext uri="{FF2B5EF4-FFF2-40B4-BE49-F238E27FC236}">
                <a16:creationId xmlns:a16="http://schemas.microsoft.com/office/drawing/2014/main" id="{371233A1-9C3F-D9CA-0C87-16BE88895ADC}"/>
              </a:ext>
            </a:extLst>
          </p:cNvPr>
          <p:cNvSpPr txBox="1">
            <a:spLocks/>
          </p:cNvSpPr>
          <p:nvPr/>
        </p:nvSpPr>
        <p:spPr>
          <a:xfrm>
            <a:off x="6718134" y="3178259"/>
            <a:ext cx="4435636" cy="253026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WRAP 2  #1200100 </a:t>
            </a:r>
          </a:p>
          <a:p>
            <a:pPr lvl="1">
              <a:spcBef>
                <a:spcPts val="600"/>
              </a:spcBef>
            </a:pPr>
            <a:r>
              <a:rPr lang="en-US" dirty="0"/>
              <a:t>CRIMPFOX CENTRUS 6H</a:t>
            </a:r>
          </a:p>
          <a:p>
            <a:pPr lvl="1">
              <a:spcBef>
                <a:spcPts val="600"/>
              </a:spcBef>
            </a:pPr>
            <a:r>
              <a:rPr lang="en-US" dirty="0"/>
              <a:t>CUTFOX 18</a:t>
            </a:r>
          </a:p>
          <a:p>
            <a:pPr lvl="1">
              <a:spcBef>
                <a:spcPts val="600"/>
              </a:spcBef>
            </a:pPr>
            <a:r>
              <a:rPr lang="en-US" dirty="0"/>
              <a:t>WIREFOX 10</a:t>
            </a:r>
          </a:p>
          <a:p>
            <a:pPr lvl="1">
              <a:spcBef>
                <a:spcPts val="600"/>
              </a:spcBef>
            </a:pPr>
            <a:r>
              <a:rPr lang="en-US" dirty="0"/>
              <a:t>WIREFOX 16-1</a:t>
            </a:r>
          </a:p>
          <a:p>
            <a:pPr lvl="1">
              <a:spcBef>
                <a:spcPts val="600"/>
              </a:spcBef>
            </a:pPr>
            <a:r>
              <a:rPr lang="en-US" dirty="0"/>
              <a:t>WIREFOX D40</a:t>
            </a:r>
          </a:p>
          <a:p>
            <a:pPr lvl="1">
              <a:spcBef>
                <a:spcPts val="600"/>
              </a:spcBef>
            </a:pPr>
            <a:r>
              <a:rPr lang="en-US" dirty="0"/>
              <a:t>Set of screwdrivers</a:t>
            </a:r>
          </a:p>
        </p:txBody>
      </p:sp>
      <p:sp>
        <p:nvSpPr>
          <p:cNvPr id="9" name="Footer Placeholder 8">
            <a:extLst>
              <a:ext uri="{FF2B5EF4-FFF2-40B4-BE49-F238E27FC236}">
                <a16:creationId xmlns:a16="http://schemas.microsoft.com/office/drawing/2014/main" id="{301CEAD8-C880-2561-F881-6457F447A02C}"/>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49292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3</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a:t>
            </a:r>
          </a:p>
        </p:txBody>
      </p:sp>
      <p:sp>
        <p:nvSpPr>
          <p:cNvPr id="9" name="Content Placeholder 3">
            <a:extLst>
              <a:ext uri="{FF2B5EF4-FFF2-40B4-BE49-F238E27FC236}">
                <a16:creationId xmlns:a16="http://schemas.microsoft.com/office/drawing/2014/main" id="{C3124107-77C9-A6AE-1E25-4DE9272F5E2F}"/>
              </a:ext>
            </a:extLst>
          </p:cNvPr>
          <p:cNvSpPr txBox="1">
            <a:spLocks/>
          </p:cNvSpPr>
          <p:nvPr/>
        </p:nvSpPr>
        <p:spPr>
          <a:xfrm>
            <a:off x="550873" y="1736485"/>
            <a:ext cx="6011973" cy="475691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CARRIER #1212503</a:t>
            </a:r>
            <a:r>
              <a:rPr lang="en-US" dirty="0"/>
              <a:t>, includes shoulder strap </a:t>
            </a:r>
          </a:p>
          <a:p>
            <a:pPr lvl="1">
              <a:spcBef>
                <a:spcPts val="600"/>
              </a:spcBef>
            </a:pPr>
            <a:r>
              <a:rPr lang="en-US" dirty="0"/>
              <a:t>Basic pliers</a:t>
            </a:r>
          </a:p>
          <a:p>
            <a:pPr lvl="1">
              <a:spcBef>
                <a:spcPts val="600"/>
              </a:spcBef>
            </a:pPr>
            <a:r>
              <a:rPr lang="en-US" dirty="0"/>
              <a:t>Cable cutter</a:t>
            </a:r>
          </a:p>
          <a:p>
            <a:pPr lvl="1">
              <a:spcBef>
                <a:spcPts val="600"/>
              </a:spcBef>
            </a:pPr>
            <a:r>
              <a:rPr lang="en-US" dirty="0"/>
              <a:t>Diagonal cutter</a:t>
            </a:r>
          </a:p>
          <a:p>
            <a:pPr lvl="1">
              <a:spcBef>
                <a:spcPts val="600"/>
              </a:spcBef>
            </a:pPr>
            <a:r>
              <a:rPr lang="en-US" dirty="0"/>
              <a:t>Voltage tester</a:t>
            </a:r>
          </a:p>
          <a:p>
            <a:pPr lvl="1">
              <a:spcBef>
                <a:spcPts val="600"/>
              </a:spcBef>
            </a:pPr>
            <a:r>
              <a:rPr lang="en-US" dirty="0"/>
              <a:t>Screwdrivers</a:t>
            </a:r>
          </a:p>
          <a:p>
            <a:pPr lvl="1">
              <a:spcBef>
                <a:spcPts val="600"/>
              </a:spcBef>
            </a:pPr>
            <a:r>
              <a:rPr lang="en-US" dirty="0"/>
              <a:t>Combination pliers</a:t>
            </a:r>
          </a:p>
          <a:p>
            <a:pPr marL="0" indent="0">
              <a:spcBef>
                <a:spcPts val="600"/>
              </a:spcBef>
              <a:buFont typeface="Wingdings" panose="05000000000000000000" pitchFamily="2" charset="2"/>
              <a:buNone/>
            </a:pPr>
            <a:endParaRPr lang="en-US" dirty="0"/>
          </a:p>
        </p:txBody>
      </p:sp>
      <p:sp>
        <p:nvSpPr>
          <p:cNvPr id="10" name="Content Placeholder 3">
            <a:extLst>
              <a:ext uri="{FF2B5EF4-FFF2-40B4-BE49-F238E27FC236}">
                <a16:creationId xmlns:a16="http://schemas.microsoft.com/office/drawing/2014/main" id="{363666CB-5E9E-9DF9-16E8-CD4FE078BE2E}"/>
              </a:ext>
            </a:extLst>
          </p:cNvPr>
          <p:cNvSpPr txBox="1">
            <a:spLocks/>
          </p:cNvSpPr>
          <p:nvPr/>
        </p:nvSpPr>
        <p:spPr>
          <a:xfrm>
            <a:off x="3417899" y="2101090"/>
            <a:ext cx="3021960" cy="225183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pPr>
            <a:r>
              <a:rPr lang="en-US" dirty="0"/>
              <a:t>Needle-nose pliers</a:t>
            </a:r>
          </a:p>
          <a:p>
            <a:pPr lvl="1">
              <a:spcBef>
                <a:spcPts val="600"/>
              </a:spcBef>
            </a:pPr>
            <a:r>
              <a:rPr lang="en-US" dirty="0"/>
              <a:t>Water pump pliers</a:t>
            </a:r>
          </a:p>
          <a:p>
            <a:pPr lvl="1">
              <a:spcBef>
                <a:spcPts val="600"/>
              </a:spcBef>
            </a:pPr>
            <a:r>
              <a:rPr lang="en-US" dirty="0"/>
              <a:t>Control cabinet key</a:t>
            </a:r>
          </a:p>
          <a:p>
            <a:pPr lvl="1">
              <a:spcBef>
                <a:spcPts val="600"/>
              </a:spcBef>
            </a:pPr>
            <a:r>
              <a:rPr lang="en-US" dirty="0"/>
              <a:t>Stripping pliers</a:t>
            </a:r>
          </a:p>
          <a:p>
            <a:pPr lvl="1">
              <a:spcBef>
                <a:spcPts val="600"/>
              </a:spcBef>
            </a:pPr>
            <a:r>
              <a:rPr lang="en-US" dirty="0"/>
              <a:t>Cutter knife</a:t>
            </a:r>
          </a:p>
          <a:p>
            <a:pPr marL="0" indent="0">
              <a:spcBef>
                <a:spcPts val="600"/>
              </a:spcBef>
              <a:buFont typeface="Wingdings" panose="05000000000000000000" pitchFamily="2" charset="2"/>
              <a:buNone/>
            </a:pPr>
            <a:endParaRPr lang="en-US" dirty="0"/>
          </a:p>
        </p:txBody>
      </p:sp>
      <p:pic>
        <p:nvPicPr>
          <p:cNvPr id="11" name="Picture 10">
            <a:extLst>
              <a:ext uri="{FF2B5EF4-FFF2-40B4-BE49-F238E27FC236}">
                <a16:creationId xmlns:a16="http://schemas.microsoft.com/office/drawing/2014/main" id="{EA5E30BD-57AD-F1E9-9162-0DB3AB2D5E58}"/>
              </a:ext>
            </a:extLst>
          </p:cNvPr>
          <p:cNvPicPr>
            <a:picLocks noChangeAspect="1"/>
          </p:cNvPicPr>
          <p:nvPr/>
        </p:nvPicPr>
        <p:blipFill rotWithShape="1">
          <a:blip r:embed="rId3">
            <a:extLst>
              <a:ext uri="{28A0092B-C50C-407E-A947-70E740481C1C}">
                <a14:useLocalDpi xmlns:a14="http://schemas.microsoft.com/office/drawing/2010/main" val="0"/>
              </a:ext>
            </a:extLst>
          </a:blip>
          <a:srcRect t="13481"/>
          <a:stretch/>
        </p:blipFill>
        <p:spPr>
          <a:xfrm>
            <a:off x="6736835" y="1845926"/>
            <a:ext cx="4406784" cy="3166147"/>
          </a:xfrm>
          <a:prstGeom prst="rect">
            <a:avLst/>
          </a:prstGeom>
        </p:spPr>
      </p:pic>
      <p:sp>
        <p:nvSpPr>
          <p:cNvPr id="3" name="Footer Placeholder 2">
            <a:extLst>
              <a:ext uri="{FF2B5EF4-FFF2-40B4-BE49-F238E27FC236}">
                <a16:creationId xmlns:a16="http://schemas.microsoft.com/office/drawing/2014/main" id="{A7FAF3A6-DE56-546F-5541-944AD476C8EA}"/>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96378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4</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a:t>
            </a:r>
          </a:p>
        </p:txBody>
      </p:sp>
      <p:sp>
        <p:nvSpPr>
          <p:cNvPr id="3" name="Content Placeholder 3">
            <a:extLst>
              <a:ext uri="{FF2B5EF4-FFF2-40B4-BE49-F238E27FC236}">
                <a16:creationId xmlns:a16="http://schemas.microsoft.com/office/drawing/2014/main" id="{EB69288A-B157-EC9C-4EF2-F291475412CB}"/>
              </a:ext>
            </a:extLst>
          </p:cNvPr>
          <p:cNvSpPr txBox="1">
            <a:spLocks/>
          </p:cNvSpPr>
          <p:nvPr/>
        </p:nvSpPr>
        <p:spPr>
          <a:xfrm>
            <a:off x="444303" y="1933255"/>
            <a:ext cx="5451672" cy="350228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 BAG #1212504</a:t>
            </a:r>
            <a:r>
              <a:rPr lang="en-US" dirty="0"/>
              <a:t>, with laptop compartment, equipped with the following tools:</a:t>
            </a:r>
          </a:p>
          <a:p>
            <a:pPr lvl="1">
              <a:spcBef>
                <a:spcPts val="600"/>
              </a:spcBef>
            </a:pPr>
            <a:r>
              <a:rPr lang="en-US" dirty="0"/>
              <a:t>Screwdrivers</a:t>
            </a:r>
          </a:p>
          <a:p>
            <a:pPr lvl="1">
              <a:spcBef>
                <a:spcPts val="600"/>
              </a:spcBef>
            </a:pPr>
            <a:r>
              <a:rPr lang="en-US" dirty="0"/>
              <a:t>Combination pliers</a:t>
            </a:r>
          </a:p>
          <a:p>
            <a:pPr lvl="1">
              <a:spcBef>
                <a:spcPts val="600"/>
              </a:spcBef>
            </a:pPr>
            <a:r>
              <a:rPr lang="en-US" dirty="0"/>
              <a:t>Needle-nose pliers</a:t>
            </a:r>
          </a:p>
          <a:p>
            <a:pPr lvl="1">
              <a:spcBef>
                <a:spcPts val="600"/>
              </a:spcBef>
            </a:pPr>
            <a:r>
              <a:rPr lang="en-US" dirty="0"/>
              <a:t>Water pump pliers</a:t>
            </a:r>
          </a:p>
          <a:p>
            <a:pPr lvl="1">
              <a:spcBef>
                <a:spcPts val="600"/>
              </a:spcBef>
            </a:pPr>
            <a:r>
              <a:rPr lang="en-US" dirty="0"/>
              <a:t>Control cabinet key</a:t>
            </a:r>
          </a:p>
          <a:p>
            <a:pPr lvl="1">
              <a:spcBef>
                <a:spcPts val="600"/>
              </a:spcBef>
            </a:pPr>
            <a:r>
              <a:rPr lang="en-US" dirty="0"/>
              <a:t>Stripping tool</a:t>
            </a:r>
          </a:p>
          <a:p>
            <a:pPr lvl="1">
              <a:spcBef>
                <a:spcPts val="600"/>
              </a:spcBef>
            </a:pPr>
            <a:r>
              <a:rPr lang="en-US" dirty="0"/>
              <a:t>Cutter knife</a:t>
            </a:r>
          </a:p>
          <a:p>
            <a:pPr>
              <a:spcBef>
                <a:spcPts val="600"/>
              </a:spcBef>
            </a:pPr>
            <a:endParaRPr lang="en-US" dirty="0"/>
          </a:p>
        </p:txBody>
      </p:sp>
      <p:pic>
        <p:nvPicPr>
          <p:cNvPr id="4" name="Picture 3">
            <a:extLst>
              <a:ext uri="{FF2B5EF4-FFF2-40B4-BE49-F238E27FC236}">
                <a16:creationId xmlns:a16="http://schemas.microsoft.com/office/drawing/2014/main" id="{68FA2017-758F-8CE9-F7B5-ACBD1353B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4773" y="1712774"/>
            <a:ext cx="4014294" cy="3361492"/>
          </a:xfrm>
          <a:prstGeom prst="rect">
            <a:avLst/>
          </a:prstGeom>
        </p:spPr>
      </p:pic>
      <p:sp>
        <p:nvSpPr>
          <p:cNvPr id="5" name="Footer Placeholder 4">
            <a:extLst>
              <a:ext uri="{FF2B5EF4-FFF2-40B4-BE49-F238E27FC236}">
                <a16:creationId xmlns:a16="http://schemas.microsoft.com/office/drawing/2014/main" id="{4AF47D3A-F1EE-C8E5-0784-93A6A3761913}"/>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20221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5</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a:t>
            </a:r>
          </a:p>
        </p:txBody>
      </p:sp>
      <p:pic>
        <p:nvPicPr>
          <p:cNvPr id="3" name="Picture 2">
            <a:extLst>
              <a:ext uri="{FF2B5EF4-FFF2-40B4-BE49-F238E27FC236}">
                <a16:creationId xmlns:a16="http://schemas.microsoft.com/office/drawing/2014/main" id="{999EB6C1-6989-0EF3-9017-578573000A3A}"/>
              </a:ext>
            </a:extLst>
          </p:cNvPr>
          <p:cNvPicPr>
            <a:picLocks noChangeAspect="1"/>
          </p:cNvPicPr>
          <p:nvPr/>
        </p:nvPicPr>
        <p:blipFill rotWithShape="1">
          <a:blip r:embed="rId3">
            <a:extLst>
              <a:ext uri="{28A0092B-C50C-407E-A947-70E740481C1C}">
                <a14:useLocalDpi xmlns:a14="http://schemas.microsoft.com/office/drawing/2010/main" val="0"/>
              </a:ext>
            </a:extLst>
          </a:blip>
          <a:srcRect l="6945" t="9635" r="6825"/>
          <a:stretch/>
        </p:blipFill>
        <p:spPr>
          <a:xfrm>
            <a:off x="8047983" y="1814457"/>
            <a:ext cx="4041774" cy="3463072"/>
          </a:xfrm>
          <a:prstGeom prst="rect">
            <a:avLst/>
          </a:prstGeom>
        </p:spPr>
      </p:pic>
      <p:sp>
        <p:nvSpPr>
          <p:cNvPr id="4" name="Content Placeholder 3">
            <a:extLst>
              <a:ext uri="{FF2B5EF4-FFF2-40B4-BE49-F238E27FC236}">
                <a16:creationId xmlns:a16="http://schemas.microsoft.com/office/drawing/2014/main" id="{34DB81F3-2AE8-CFD8-BF06-FEE4FA8323FD}"/>
              </a:ext>
            </a:extLst>
          </p:cNvPr>
          <p:cNvSpPr txBox="1">
            <a:spLocks/>
          </p:cNvSpPr>
          <p:nvPr/>
        </p:nvSpPr>
        <p:spPr>
          <a:xfrm>
            <a:off x="955987" y="2048513"/>
            <a:ext cx="4040188" cy="364623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 BESTPOUCH #1212506</a:t>
            </a:r>
            <a:r>
              <a:rPr lang="en-US" dirty="0"/>
              <a:t>, equipped with one each of the following tools:</a:t>
            </a:r>
          </a:p>
          <a:p>
            <a:pPr lvl="1">
              <a:spcBef>
                <a:spcPts val="600"/>
              </a:spcBef>
            </a:pPr>
            <a:r>
              <a:rPr lang="en-US" dirty="0"/>
              <a:t>Cable cutter</a:t>
            </a:r>
          </a:p>
          <a:p>
            <a:pPr lvl="1">
              <a:spcBef>
                <a:spcPts val="600"/>
              </a:spcBef>
            </a:pPr>
            <a:r>
              <a:rPr lang="en-US" dirty="0"/>
              <a:t>Diagonal cutter</a:t>
            </a:r>
          </a:p>
          <a:p>
            <a:pPr lvl="1">
              <a:spcBef>
                <a:spcPts val="600"/>
              </a:spcBef>
            </a:pPr>
            <a:r>
              <a:rPr lang="en-US" dirty="0"/>
              <a:t>Voltage tester</a:t>
            </a:r>
          </a:p>
          <a:p>
            <a:pPr lvl="1">
              <a:spcBef>
                <a:spcPts val="600"/>
              </a:spcBef>
            </a:pPr>
            <a:r>
              <a:rPr lang="en-US" dirty="0"/>
              <a:t>Screwdrivers</a:t>
            </a:r>
          </a:p>
          <a:p>
            <a:pPr lvl="1">
              <a:spcBef>
                <a:spcPts val="600"/>
              </a:spcBef>
            </a:pPr>
            <a:r>
              <a:rPr lang="en-US" dirty="0"/>
              <a:t>Combination pliers</a:t>
            </a:r>
          </a:p>
          <a:p>
            <a:pPr lvl="1">
              <a:spcBef>
                <a:spcPts val="600"/>
              </a:spcBef>
            </a:pPr>
            <a:r>
              <a:rPr lang="en-US" dirty="0"/>
              <a:t>Control cabinet key</a:t>
            </a:r>
          </a:p>
          <a:p>
            <a:pPr lvl="1">
              <a:spcBef>
                <a:spcPts val="600"/>
              </a:spcBef>
            </a:pPr>
            <a:r>
              <a:rPr lang="en-US" dirty="0"/>
              <a:t>Stripping tool</a:t>
            </a:r>
          </a:p>
          <a:p>
            <a:pPr>
              <a:spcBef>
                <a:spcPts val="600"/>
              </a:spcBef>
            </a:pPr>
            <a:endParaRPr lang="en-US" dirty="0"/>
          </a:p>
        </p:txBody>
      </p:sp>
      <p:sp>
        <p:nvSpPr>
          <p:cNvPr id="5" name="Footer Placeholder 4">
            <a:extLst>
              <a:ext uri="{FF2B5EF4-FFF2-40B4-BE49-F238E27FC236}">
                <a16:creationId xmlns:a16="http://schemas.microsoft.com/office/drawing/2014/main" id="{9D10F389-9D1D-ACB1-7A3C-5C9E5107AF7E}"/>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04213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6</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a:t>
            </a:r>
          </a:p>
        </p:txBody>
      </p:sp>
      <p:pic>
        <p:nvPicPr>
          <p:cNvPr id="3" name="Picture 2">
            <a:extLst>
              <a:ext uri="{FF2B5EF4-FFF2-40B4-BE49-F238E27FC236}">
                <a16:creationId xmlns:a16="http://schemas.microsoft.com/office/drawing/2014/main" id="{6B210284-036B-CBE4-BCA6-4801BC3A40B0}"/>
              </a:ext>
            </a:extLst>
          </p:cNvPr>
          <p:cNvPicPr>
            <a:picLocks noChangeAspect="1"/>
          </p:cNvPicPr>
          <p:nvPr/>
        </p:nvPicPr>
        <p:blipFill>
          <a:blip r:embed="rId3"/>
          <a:stretch>
            <a:fillRect/>
          </a:stretch>
        </p:blipFill>
        <p:spPr>
          <a:xfrm>
            <a:off x="8119196" y="2307893"/>
            <a:ext cx="2863617" cy="2762250"/>
          </a:xfrm>
          <a:prstGeom prst="rect">
            <a:avLst/>
          </a:prstGeom>
        </p:spPr>
      </p:pic>
      <p:sp>
        <p:nvSpPr>
          <p:cNvPr id="4" name="Content Placeholder 3">
            <a:extLst>
              <a:ext uri="{FF2B5EF4-FFF2-40B4-BE49-F238E27FC236}">
                <a16:creationId xmlns:a16="http://schemas.microsoft.com/office/drawing/2014/main" id="{60622079-BD9C-B4CC-3AC6-656B164C70FC}"/>
              </a:ext>
            </a:extLst>
          </p:cNvPr>
          <p:cNvSpPr txBox="1">
            <a:spLocks/>
          </p:cNvSpPr>
          <p:nvPr/>
        </p:nvSpPr>
        <p:spPr>
          <a:xfrm>
            <a:off x="734991" y="2463874"/>
            <a:ext cx="5030877" cy="296346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b="1" dirty="0"/>
              <a:t>TOOL KIT STANDARD #1212422</a:t>
            </a:r>
            <a:r>
              <a:rPr lang="en-US" dirty="0"/>
              <a:t>, equipped with one each of the following tools:</a:t>
            </a:r>
          </a:p>
          <a:p>
            <a:pPr lvl="1">
              <a:spcBef>
                <a:spcPts val="600"/>
              </a:spcBef>
            </a:pPr>
            <a:r>
              <a:rPr lang="en-US" dirty="0" err="1"/>
              <a:t>Cutfox</a:t>
            </a:r>
            <a:r>
              <a:rPr lang="en-US" dirty="0"/>
              <a:t> 18 - Front Cable cutter</a:t>
            </a:r>
          </a:p>
          <a:p>
            <a:pPr lvl="1">
              <a:spcBef>
                <a:spcPts val="600"/>
              </a:spcBef>
            </a:pPr>
            <a:r>
              <a:rPr lang="en-US" dirty="0" err="1"/>
              <a:t>Wirefox</a:t>
            </a:r>
            <a:r>
              <a:rPr lang="en-US" dirty="0"/>
              <a:t> D40 - Stripping tool</a:t>
            </a:r>
          </a:p>
          <a:p>
            <a:pPr lvl="1">
              <a:spcBef>
                <a:spcPts val="600"/>
              </a:spcBef>
            </a:pPr>
            <a:r>
              <a:rPr lang="en-US" dirty="0" err="1"/>
              <a:t>Wirefox</a:t>
            </a:r>
            <a:r>
              <a:rPr lang="en-US" dirty="0"/>
              <a:t> 10 - Stripping pliers</a:t>
            </a:r>
          </a:p>
          <a:p>
            <a:pPr lvl="1">
              <a:spcBef>
                <a:spcPts val="600"/>
              </a:spcBef>
            </a:pPr>
            <a:r>
              <a:rPr lang="en-US" dirty="0" err="1"/>
              <a:t>Crimpfox</a:t>
            </a:r>
            <a:r>
              <a:rPr lang="en-US" dirty="0"/>
              <a:t> 6SF - Crimping pliers</a:t>
            </a:r>
          </a:p>
          <a:p>
            <a:pPr lvl="1">
              <a:spcBef>
                <a:spcPts val="600"/>
              </a:spcBef>
            </a:pPr>
            <a:r>
              <a:rPr lang="en-US" dirty="0"/>
              <a:t>SZF 1-0,6X3,5 - Screwdriver</a:t>
            </a:r>
          </a:p>
          <a:p>
            <a:pPr>
              <a:spcBef>
                <a:spcPts val="600"/>
              </a:spcBef>
            </a:pPr>
            <a:endParaRPr lang="en-US" dirty="0"/>
          </a:p>
        </p:txBody>
      </p:sp>
      <p:sp>
        <p:nvSpPr>
          <p:cNvPr id="5" name="Footer Placeholder 4">
            <a:extLst>
              <a:ext uri="{FF2B5EF4-FFF2-40B4-BE49-F238E27FC236}">
                <a16:creationId xmlns:a16="http://schemas.microsoft.com/office/drawing/2014/main" id="{B7D96CAE-12DB-49FE-EF93-42AFD191BD16}"/>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47026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7</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Tool Kits – Create your own!</a:t>
            </a:r>
          </a:p>
        </p:txBody>
      </p:sp>
      <p:pic>
        <p:nvPicPr>
          <p:cNvPr id="3" name="Picture 2">
            <a:extLst>
              <a:ext uri="{FF2B5EF4-FFF2-40B4-BE49-F238E27FC236}">
                <a16:creationId xmlns:a16="http://schemas.microsoft.com/office/drawing/2014/main" id="{DE510EDA-8067-60D2-C1DF-FDF726DA4770}"/>
              </a:ext>
            </a:extLst>
          </p:cNvPr>
          <p:cNvPicPr>
            <a:picLocks noChangeAspect="1"/>
          </p:cNvPicPr>
          <p:nvPr/>
        </p:nvPicPr>
        <p:blipFill>
          <a:blip r:embed="rId3"/>
          <a:stretch>
            <a:fillRect/>
          </a:stretch>
        </p:blipFill>
        <p:spPr>
          <a:xfrm>
            <a:off x="550873" y="2847975"/>
            <a:ext cx="1914525" cy="1619250"/>
          </a:xfrm>
          <a:prstGeom prst="rect">
            <a:avLst/>
          </a:prstGeom>
        </p:spPr>
      </p:pic>
      <p:pic>
        <p:nvPicPr>
          <p:cNvPr id="4" name="Picture 3">
            <a:extLst>
              <a:ext uri="{FF2B5EF4-FFF2-40B4-BE49-F238E27FC236}">
                <a16:creationId xmlns:a16="http://schemas.microsoft.com/office/drawing/2014/main" id="{AEF156FE-E1C4-C38F-BA27-07A9FB856A1C}"/>
              </a:ext>
            </a:extLst>
          </p:cNvPr>
          <p:cNvPicPr>
            <a:picLocks noChangeAspect="1"/>
          </p:cNvPicPr>
          <p:nvPr/>
        </p:nvPicPr>
        <p:blipFill>
          <a:blip r:embed="rId4"/>
          <a:stretch>
            <a:fillRect/>
          </a:stretch>
        </p:blipFill>
        <p:spPr>
          <a:xfrm>
            <a:off x="2541598" y="2705100"/>
            <a:ext cx="1428750" cy="1666875"/>
          </a:xfrm>
          <a:prstGeom prst="rect">
            <a:avLst/>
          </a:prstGeom>
        </p:spPr>
      </p:pic>
      <p:pic>
        <p:nvPicPr>
          <p:cNvPr id="5" name="Picture 4">
            <a:extLst>
              <a:ext uri="{FF2B5EF4-FFF2-40B4-BE49-F238E27FC236}">
                <a16:creationId xmlns:a16="http://schemas.microsoft.com/office/drawing/2014/main" id="{B44CD752-8DFE-68BD-0E5E-F7DB717591CD}"/>
              </a:ext>
            </a:extLst>
          </p:cNvPr>
          <p:cNvPicPr>
            <a:picLocks noChangeAspect="1"/>
          </p:cNvPicPr>
          <p:nvPr/>
        </p:nvPicPr>
        <p:blipFill>
          <a:blip r:embed="rId5"/>
          <a:stretch>
            <a:fillRect/>
          </a:stretch>
        </p:blipFill>
        <p:spPr>
          <a:xfrm>
            <a:off x="4282271" y="2903194"/>
            <a:ext cx="1380782" cy="1365935"/>
          </a:xfrm>
          <a:prstGeom prst="rect">
            <a:avLst/>
          </a:prstGeom>
        </p:spPr>
      </p:pic>
      <p:pic>
        <p:nvPicPr>
          <p:cNvPr id="6" name="Picture 5" descr="A black and blue backpack&#10;&#10;Description automatically generated with low confidence">
            <a:extLst>
              <a:ext uri="{FF2B5EF4-FFF2-40B4-BE49-F238E27FC236}">
                <a16:creationId xmlns:a16="http://schemas.microsoft.com/office/drawing/2014/main" id="{D54A9274-7F36-7FA7-A301-9CE7D6C9EA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42943" y="2937159"/>
            <a:ext cx="1967557" cy="1539469"/>
          </a:xfrm>
          <a:prstGeom prst="rect">
            <a:avLst/>
          </a:prstGeom>
        </p:spPr>
      </p:pic>
      <p:pic>
        <p:nvPicPr>
          <p:cNvPr id="9" name="Picture 8">
            <a:extLst>
              <a:ext uri="{FF2B5EF4-FFF2-40B4-BE49-F238E27FC236}">
                <a16:creationId xmlns:a16="http://schemas.microsoft.com/office/drawing/2014/main" id="{60C7F995-4198-22E5-228D-8DAFCF2C5739}"/>
              </a:ext>
            </a:extLst>
          </p:cNvPr>
          <p:cNvPicPr>
            <a:picLocks noChangeAspect="1"/>
          </p:cNvPicPr>
          <p:nvPr/>
        </p:nvPicPr>
        <p:blipFill>
          <a:blip r:embed="rId7"/>
          <a:stretch>
            <a:fillRect/>
          </a:stretch>
        </p:blipFill>
        <p:spPr>
          <a:xfrm>
            <a:off x="7810500" y="2705100"/>
            <a:ext cx="2247900" cy="1762125"/>
          </a:xfrm>
          <a:prstGeom prst="rect">
            <a:avLst/>
          </a:prstGeom>
        </p:spPr>
      </p:pic>
      <p:pic>
        <p:nvPicPr>
          <p:cNvPr id="10" name="Picture 9">
            <a:extLst>
              <a:ext uri="{FF2B5EF4-FFF2-40B4-BE49-F238E27FC236}">
                <a16:creationId xmlns:a16="http://schemas.microsoft.com/office/drawing/2014/main" id="{3533CEB3-DB5D-689D-5592-A417B0CDCA3F}"/>
              </a:ext>
            </a:extLst>
          </p:cNvPr>
          <p:cNvPicPr>
            <a:picLocks noChangeAspect="1"/>
          </p:cNvPicPr>
          <p:nvPr/>
        </p:nvPicPr>
        <p:blipFill>
          <a:blip r:embed="rId8"/>
          <a:stretch>
            <a:fillRect/>
          </a:stretch>
        </p:blipFill>
        <p:spPr>
          <a:xfrm>
            <a:off x="10134600" y="2562225"/>
            <a:ext cx="1676400" cy="1905000"/>
          </a:xfrm>
          <a:prstGeom prst="rect">
            <a:avLst/>
          </a:prstGeom>
        </p:spPr>
      </p:pic>
      <p:sp>
        <p:nvSpPr>
          <p:cNvPr id="11" name="Text Placeholder 3">
            <a:extLst>
              <a:ext uri="{FF2B5EF4-FFF2-40B4-BE49-F238E27FC236}">
                <a16:creationId xmlns:a16="http://schemas.microsoft.com/office/drawing/2014/main" id="{DDD4B54F-E3E0-B53E-1DAB-5AB93751F9F5}"/>
              </a:ext>
            </a:extLst>
          </p:cNvPr>
          <p:cNvSpPr txBox="1">
            <a:spLocks/>
          </p:cNvSpPr>
          <p:nvPr/>
        </p:nvSpPr>
        <p:spPr>
          <a:xfrm>
            <a:off x="377826" y="4583239"/>
            <a:ext cx="1914526"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KIT STANDARD</a:t>
            </a:r>
          </a:p>
          <a:p>
            <a:pPr marL="0" indent="0" algn="ctr">
              <a:buNone/>
            </a:pPr>
            <a:r>
              <a:rPr lang="en-US" dirty="0"/>
              <a:t>1212423</a:t>
            </a:r>
          </a:p>
        </p:txBody>
      </p:sp>
      <p:sp>
        <p:nvSpPr>
          <p:cNvPr id="12" name="Text Placeholder 3">
            <a:extLst>
              <a:ext uri="{FF2B5EF4-FFF2-40B4-BE49-F238E27FC236}">
                <a16:creationId xmlns:a16="http://schemas.microsoft.com/office/drawing/2014/main" id="{FC5C14C6-0482-8525-A211-14074EFCD75B}"/>
              </a:ext>
            </a:extLst>
          </p:cNvPr>
          <p:cNvSpPr txBox="1">
            <a:spLocks/>
          </p:cNvSpPr>
          <p:nvPr/>
        </p:nvSpPr>
        <p:spPr>
          <a:xfrm>
            <a:off x="2464145" y="4621339"/>
            <a:ext cx="1790014" cy="82696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BELT</a:t>
            </a:r>
          </a:p>
          <a:p>
            <a:pPr marL="0" indent="0" algn="ctr">
              <a:buNone/>
            </a:pPr>
            <a:r>
              <a:rPr lang="en-US" dirty="0"/>
              <a:t>1212502</a:t>
            </a:r>
          </a:p>
        </p:txBody>
      </p:sp>
      <p:sp>
        <p:nvSpPr>
          <p:cNvPr id="14" name="Text Placeholder 3">
            <a:extLst>
              <a:ext uri="{FF2B5EF4-FFF2-40B4-BE49-F238E27FC236}">
                <a16:creationId xmlns:a16="http://schemas.microsoft.com/office/drawing/2014/main" id="{21867D3D-2D14-CF5A-1C77-70901B4DDE69}"/>
              </a:ext>
            </a:extLst>
          </p:cNvPr>
          <p:cNvSpPr txBox="1">
            <a:spLocks/>
          </p:cNvSpPr>
          <p:nvPr/>
        </p:nvSpPr>
        <p:spPr>
          <a:xfrm>
            <a:off x="4130519" y="4621339"/>
            <a:ext cx="179001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CARRIER</a:t>
            </a:r>
          </a:p>
          <a:p>
            <a:pPr marL="0" indent="0" algn="ctr">
              <a:buNone/>
            </a:pPr>
            <a:r>
              <a:rPr lang="en-US" dirty="0"/>
              <a:t>1212499</a:t>
            </a:r>
          </a:p>
        </p:txBody>
      </p:sp>
      <p:sp>
        <p:nvSpPr>
          <p:cNvPr id="15" name="Text Placeholder 3">
            <a:extLst>
              <a:ext uri="{FF2B5EF4-FFF2-40B4-BE49-F238E27FC236}">
                <a16:creationId xmlns:a16="http://schemas.microsoft.com/office/drawing/2014/main" id="{421CF904-DF55-1E75-4FD7-8DFD0A01EF4D}"/>
              </a:ext>
            </a:extLst>
          </p:cNvPr>
          <p:cNvSpPr txBox="1">
            <a:spLocks/>
          </p:cNvSpPr>
          <p:nvPr/>
        </p:nvSpPr>
        <p:spPr>
          <a:xfrm>
            <a:off x="5796893" y="4642730"/>
            <a:ext cx="179001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WRAP</a:t>
            </a:r>
          </a:p>
          <a:p>
            <a:pPr marL="0" indent="0" algn="ctr">
              <a:buNone/>
            </a:pPr>
            <a:r>
              <a:rPr lang="en-US" dirty="0"/>
              <a:t>1212501</a:t>
            </a:r>
          </a:p>
        </p:txBody>
      </p:sp>
      <p:sp>
        <p:nvSpPr>
          <p:cNvPr id="16" name="Text Placeholder 3">
            <a:extLst>
              <a:ext uri="{FF2B5EF4-FFF2-40B4-BE49-F238E27FC236}">
                <a16:creationId xmlns:a16="http://schemas.microsoft.com/office/drawing/2014/main" id="{A45C476C-D759-494C-BDDB-8EF33A833B2B}"/>
              </a:ext>
            </a:extLst>
          </p:cNvPr>
          <p:cNvSpPr txBox="1">
            <a:spLocks/>
          </p:cNvSpPr>
          <p:nvPr/>
        </p:nvSpPr>
        <p:spPr>
          <a:xfrm>
            <a:off x="7415115" y="4588055"/>
            <a:ext cx="264328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BAG</a:t>
            </a:r>
          </a:p>
          <a:p>
            <a:pPr marL="0" indent="0" algn="ctr">
              <a:buNone/>
            </a:pPr>
            <a:r>
              <a:rPr lang="en-US" dirty="0"/>
              <a:t>1212500</a:t>
            </a:r>
          </a:p>
        </p:txBody>
      </p:sp>
      <p:sp>
        <p:nvSpPr>
          <p:cNvPr id="17" name="Text Placeholder 3">
            <a:extLst>
              <a:ext uri="{FF2B5EF4-FFF2-40B4-BE49-F238E27FC236}">
                <a16:creationId xmlns:a16="http://schemas.microsoft.com/office/drawing/2014/main" id="{77FB083B-0690-AF69-AD13-535A48613A79}"/>
              </a:ext>
            </a:extLst>
          </p:cNvPr>
          <p:cNvSpPr txBox="1">
            <a:spLocks/>
          </p:cNvSpPr>
          <p:nvPr/>
        </p:nvSpPr>
        <p:spPr>
          <a:xfrm>
            <a:off x="9548715" y="4583238"/>
            <a:ext cx="2643285"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TOOL-CASE</a:t>
            </a:r>
          </a:p>
          <a:p>
            <a:pPr marL="0" indent="0" algn="ctr">
              <a:buNone/>
            </a:pPr>
            <a:r>
              <a:rPr lang="en-US" dirty="0"/>
              <a:t>1212628</a:t>
            </a:r>
          </a:p>
        </p:txBody>
      </p:sp>
      <p:sp>
        <p:nvSpPr>
          <p:cNvPr id="18" name="Footer Placeholder 17">
            <a:extLst>
              <a:ext uri="{FF2B5EF4-FFF2-40B4-BE49-F238E27FC236}">
                <a16:creationId xmlns:a16="http://schemas.microsoft.com/office/drawing/2014/main" id="{FEC757D7-2C64-9A2A-F73C-C761B37908DE}"/>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08922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80A69DC-220E-23F6-A8C6-326D5B4F3B2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0466" y="1301881"/>
            <a:ext cx="1712600" cy="1792629"/>
          </a:xfrm>
          <a:prstGeom prst="rect">
            <a:avLst/>
          </a:prstGeom>
        </p:spPr>
      </p:pic>
      <p:pic>
        <p:nvPicPr>
          <p:cNvPr id="14" name="Picture 13">
            <a:extLst>
              <a:ext uri="{FF2B5EF4-FFF2-40B4-BE49-F238E27FC236}">
                <a16:creationId xmlns:a16="http://schemas.microsoft.com/office/drawing/2014/main" id="{29B01290-30D3-55B9-1E1E-DEE5A2ED76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6654125" y="4549756"/>
            <a:ext cx="1598795" cy="1484524"/>
          </a:xfrm>
          <a:prstGeom prst="rect">
            <a:avLst/>
          </a:prstGeom>
        </p:spPr>
      </p:pic>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8</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Semi-Automatic Wire Processing Machines</a:t>
            </a:r>
          </a:p>
        </p:txBody>
      </p:sp>
      <p:sp>
        <p:nvSpPr>
          <p:cNvPr id="3" name="Content Placeholder 3">
            <a:extLst>
              <a:ext uri="{FF2B5EF4-FFF2-40B4-BE49-F238E27FC236}">
                <a16:creationId xmlns:a16="http://schemas.microsoft.com/office/drawing/2014/main" id="{0113B3F9-2C76-E02C-84AA-8FDA77155200}"/>
              </a:ext>
            </a:extLst>
          </p:cNvPr>
          <p:cNvSpPr txBox="1">
            <a:spLocks/>
          </p:cNvSpPr>
          <p:nvPr/>
        </p:nvSpPr>
        <p:spPr>
          <a:xfrm>
            <a:off x="550873" y="1846438"/>
            <a:ext cx="5699020" cy="4104570"/>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Font typeface="Wingdings" panose="05000000000000000000" pitchFamily="2" charset="2"/>
              <a:buNone/>
            </a:pPr>
            <a:r>
              <a:rPr lang="en-US" b="1" dirty="0"/>
              <a:t>Wire Striping and Ferrule Crimping</a:t>
            </a:r>
          </a:p>
          <a:p>
            <a:pPr>
              <a:spcBef>
                <a:spcPts val="600"/>
              </a:spcBef>
            </a:pPr>
            <a:r>
              <a:rPr lang="en-US" dirty="0"/>
              <a:t>CF3000 – reeled, insulated ferrules</a:t>
            </a:r>
          </a:p>
          <a:p>
            <a:pPr>
              <a:spcBef>
                <a:spcPts val="600"/>
              </a:spcBef>
            </a:pPr>
            <a:r>
              <a:rPr lang="en-US" dirty="0"/>
              <a:t>CF1000 – loose, insulated ferrules</a:t>
            </a:r>
          </a:p>
          <a:p>
            <a:pPr marL="0" indent="0">
              <a:spcBef>
                <a:spcPts val="600"/>
              </a:spcBef>
              <a:buFont typeface="Wingdings" panose="05000000000000000000" pitchFamily="2" charset="2"/>
              <a:buNone/>
            </a:pPr>
            <a:r>
              <a:rPr lang="en-US" b="1" dirty="0"/>
              <a:t>Wire Cutting</a:t>
            </a:r>
          </a:p>
          <a:p>
            <a:pPr>
              <a:spcBef>
                <a:spcPts val="600"/>
              </a:spcBef>
            </a:pPr>
            <a:r>
              <a:rPr lang="en-US" dirty="0"/>
              <a:t>CUTFOX 10</a:t>
            </a:r>
          </a:p>
          <a:p>
            <a:pPr marL="0" indent="0">
              <a:spcBef>
                <a:spcPts val="600"/>
              </a:spcBef>
              <a:buFont typeface="Wingdings" panose="05000000000000000000" pitchFamily="2" charset="2"/>
              <a:buNone/>
            </a:pPr>
            <a:r>
              <a:rPr lang="en-US" b="1" dirty="0"/>
              <a:t>Wire Stripping</a:t>
            </a:r>
          </a:p>
          <a:p>
            <a:pPr>
              <a:spcBef>
                <a:spcPts val="600"/>
              </a:spcBef>
            </a:pPr>
            <a:r>
              <a:rPr lang="en-US" dirty="0"/>
              <a:t>WF1000</a:t>
            </a:r>
          </a:p>
          <a:p>
            <a:pPr marL="0" indent="0">
              <a:spcBef>
                <a:spcPts val="600"/>
              </a:spcBef>
              <a:buFont typeface="Wingdings" panose="05000000000000000000" pitchFamily="2" charset="2"/>
              <a:buNone/>
            </a:pPr>
            <a:r>
              <a:rPr lang="en-US" b="1" dirty="0"/>
              <a:t>Wire Crimping</a:t>
            </a:r>
          </a:p>
          <a:p>
            <a:pPr>
              <a:spcBef>
                <a:spcPts val="600"/>
              </a:spcBef>
            </a:pPr>
            <a:r>
              <a:rPr lang="en-US" dirty="0"/>
              <a:t>CF500 – Pedal activated crimper for a wide range of connectors</a:t>
            </a:r>
          </a:p>
          <a:p>
            <a:pPr>
              <a:spcBef>
                <a:spcPts val="600"/>
              </a:spcBef>
            </a:pPr>
            <a:r>
              <a:rPr lang="en-US" dirty="0"/>
              <a:t>ZAP 25, 40 and 100 - Pneumatic ferrule crimpers</a:t>
            </a:r>
          </a:p>
          <a:p>
            <a:pPr>
              <a:spcBef>
                <a:spcPts val="600"/>
              </a:spcBef>
            </a:pPr>
            <a:endParaRPr lang="en-US" dirty="0"/>
          </a:p>
        </p:txBody>
      </p:sp>
      <p:pic>
        <p:nvPicPr>
          <p:cNvPr id="4" name="Picture 3">
            <a:extLst>
              <a:ext uri="{FF2B5EF4-FFF2-40B4-BE49-F238E27FC236}">
                <a16:creationId xmlns:a16="http://schemas.microsoft.com/office/drawing/2014/main" id="{73148121-35FE-7D0D-BF6C-BD3D6F40CA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509004" y="1400175"/>
            <a:ext cx="2891042" cy="3158148"/>
          </a:xfrm>
          <a:prstGeom prst="rect">
            <a:avLst/>
          </a:prstGeom>
        </p:spPr>
      </p:pic>
      <p:sp>
        <p:nvSpPr>
          <p:cNvPr id="5" name="Footer Placeholder 4">
            <a:extLst>
              <a:ext uri="{FF2B5EF4-FFF2-40B4-BE49-F238E27FC236}">
                <a16:creationId xmlns:a16="http://schemas.microsoft.com/office/drawing/2014/main" id="{4A695491-6B9C-1F79-13DF-1946A3F58277}"/>
              </a:ext>
            </a:extLst>
          </p:cNvPr>
          <p:cNvSpPr>
            <a:spLocks noGrp="1"/>
          </p:cNvSpPr>
          <p:nvPr>
            <p:ph type="ftr" sz="quarter" idx="17"/>
          </p:nvPr>
        </p:nvSpPr>
        <p:spPr/>
        <p:txBody>
          <a:bodyPr/>
          <a:lstStyle/>
          <a:p>
            <a:r>
              <a:rPr lang="en-US"/>
              <a:t>Updated January 2023</a:t>
            </a:r>
            <a:endParaRPr lang="de-DE" dirty="0"/>
          </a:p>
        </p:txBody>
      </p:sp>
      <p:pic>
        <p:nvPicPr>
          <p:cNvPr id="9" name="Picture 8">
            <a:extLst>
              <a:ext uri="{FF2B5EF4-FFF2-40B4-BE49-F238E27FC236}">
                <a16:creationId xmlns:a16="http://schemas.microsoft.com/office/drawing/2014/main" id="{677491C6-B7CA-4CBB-8F19-677A288AF9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98614" y="470315"/>
            <a:ext cx="1716990" cy="1792629"/>
          </a:xfrm>
          <a:prstGeom prst="rect">
            <a:avLst/>
          </a:prstGeom>
        </p:spPr>
      </p:pic>
      <p:pic>
        <p:nvPicPr>
          <p:cNvPr id="11" name="Picture 10">
            <a:extLst>
              <a:ext uri="{FF2B5EF4-FFF2-40B4-BE49-F238E27FC236}">
                <a16:creationId xmlns:a16="http://schemas.microsoft.com/office/drawing/2014/main" id="{915F881B-5DA4-93B6-A022-360038F8C2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78568" y="2483955"/>
            <a:ext cx="1557081" cy="1629842"/>
          </a:xfrm>
          <a:prstGeom prst="rect">
            <a:avLst/>
          </a:prstGeom>
        </p:spPr>
      </p:pic>
      <p:pic>
        <p:nvPicPr>
          <p:cNvPr id="12" name="Picture 11">
            <a:extLst>
              <a:ext uri="{FF2B5EF4-FFF2-40B4-BE49-F238E27FC236}">
                <a16:creationId xmlns:a16="http://schemas.microsoft.com/office/drawing/2014/main" id="{C3DA753D-9B45-7115-887D-53C0CAE054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36885" y="2962742"/>
            <a:ext cx="1712599" cy="1788043"/>
          </a:xfrm>
          <a:prstGeom prst="rect">
            <a:avLst/>
          </a:prstGeom>
        </p:spPr>
      </p:pic>
      <p:pic>
        <p:nvPicPr>
          <p:cNvPr id="10" name="Picture 9">
            <a:extLst>
              <a:ext uri="{FF2B5EF4-FFF2-40B4-BE49-F238E27FC236}">
                <a16:creationId xmlns:a16="http://schemas.microsoft.com/office/drawing/2014/main" id="{BEEF78F7-C91D-6C74-D91D-C3940D20D9E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32465" y="4120248"/>
            <a:ext cx="1649285" cy="1726356"/>
          </a:xfrm>
          <a:prstGeom prst="rect">
            <a:avLst/>
          </a:prstGeom>
        </p:spPr>
      </p:pic>
    </p:spTree>
    <p:extLst>
      <p:ext uri="{BB962C8B-B14F-4D97-AF65-F5344CB8AC3E}">
        <p14:creationId xmlns:p14="http://schemas.microsoft.com/office/powerpoint/2010/main" val="296373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49</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Wire Stripping and Ferrule Crimping</a:t>
            </a:r>
          </a:p>
        </p:txBody>
      </p:sp>
      <p:pic>
        <p:nvPicPr>
          <p:cNvPr id="3" name="Picture 2">
            <a:extLst>
              <a:ext uri="{FF2B5EF4-FFF2-40B4-BE49-F238E27FC236}">
                <a16:creationId xmlns:a16="http://schemas.microsoft.com/office/drawing/2014/main" id="{2035B085-690B-3DC9-6523-B4940A86B9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4833" y="1347580"/>
            <a:ext cx="3909447" cy="4081670"/>
          </a:xfrm>
          <a:prstGeom prst="rect">
            <a:avLst/>
          </a:prstGeom>
        </p:spPr>
      </p:pic>
      <p:pic>
        <p:nvPicPr>
          <p:cNvPr id="4" name="Picture 3">
            <a:extLst>
              <a:ext uri="{FF2B5EF4-FFF2-40B4-BE49-F238E27FC236}">
                <a16:creationId xmlns:a16="http://schemas.microsoft.com/office/drawing/2014/main" id="{482131CF-2373-B476-D8AB-4E57A88F21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06035" y="1328961"/>
            <a:ext cx="2123660" cy="2222897"/>
          </a:xfrm>
          <a:prstGeom prst="rect">
            <a:avLst/>
          </a:prstGeom>
        </p:spPr>
      </p:pic>
      <p:pic>
        <p:nvPicPr>
          <p:cNvPr id="5" name="Picture 3">
            <a:extLst>
              <a:ext uri="{FF2B5EF4-FFF2-40B4-BE49-F238E27FC236}">
                <a16:creationId xmlns:a16="http://schemas.microsoft.com/office/drawing/2014/main" id="{123960F8-0336-AB9B-FDCB-A4E8BC8CE80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25730" y="109433"/>
            <a:ext cx="971500" cy="71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3">
            <a:extLst>
              <a:ext uri="{FF2B5EF4-FFF2-40B4-BE49-F238E27FC236}">
                <a16:creationId xmlns:a16="http://schemas.microsoft.com/office/drawing/2014/main" id="{F93132FA-780A-A7AC-A573-2281A7FD7DFE}"/>
              </a:ext>
            </a:extLst>
          </p:cNvPr>
          <p:cNvSpPr txBox="1">
            <a:spLocks/>
          </p:cNvSpPr>
          <p:nvPr/>
        </p:nvSpPr>
        <p:spPr>
          <a:xfrm>
            <a:off x="372085" y="2042501"/>
            <a:ext cx="4264550" cy="373883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en-US" b="1" dirty="0"/>
              <a:t>CF1000-1,5 - 22-12 AWG - 1208199</a:t>
            </a:r>
          </a:p>
          <a:p>
            <a:pPr marL="0" indent="0">
              <a:spcBef>
                <a:spcPts val="600"/>
              </a:spcBef>
              <a:buNone/>
            </a:pPr>
            <a:r>
              <a:rPr lang="en-US" b="1" dirty="0"/>
              <a:t>CF1000-10 – 12,10,&amp; 8 AWG - 1212456</a:t>
            </a:r>
          </a:p>
          <a:p>
            <a:pPr>
              <a:spcBef>
                <a:spcPts val="600"/>
              </a:spcBef>
            </a:pPr>
            <a:r>
              <a:rPr lang="en-US" dirty="0"/>
              <a:t>Loose insulated ferrules</a:t>
            </a:r>
          </a:p>
          <a:p>
            <a:pPr>
              <a:spcBef>
                <a:spcPts val="600"/>
              </a:spcBef>
            </a:pPr>
            <a:r>
              <a:rPr lang="en-US" dirty="0"/>
              <a:t>Processes up to 1200/</a:t>
            </a:r>
            <a:r>
              <a:rPr lang="en-US" dirty="0" err="1"/>
              <a:t>hr</a:t>
            </a:r>
            <a:endParaRPr lang="en-US" dirty="0"/>
          </a:p>
          <a:p>
            <a:pPr>
              <a:spcBef>
                <a:spcPts val="600"/>
              </a:spcBef>
            </a:pPr>
            <a:r>
              <a:rPr lang="en-US" dirty="0"/>
              <a:t>Adjustable strip length</a:t>
            </a:r>
          </a:p>
          <a:p>
            <a:pPr>
              <a:spcBef>
                <a:spcPts val="600"/>
              </a:spcBef>
            </a:pPr>
            <a:r>
              <a:rPr lang="en-US" dirty="0"/>
              <a:t>Strip only option available</a:t>
            </a:r>
          </a:p>
          <a:p>
            <a:pPr>
              <a:spcBef>
                <a:spcPts val="600"/>
              </a:spcBef>
            </a:pPr>
            <a:r>
              <a:rPr lang="en-US" dirty="0"/>
              <a:t>Quantity counter</a:t>
            </a:r>
          </a:p>
          <a:p>
            <a:pPr>
              <a:spcBef>
                <a:spcPts val="600"/>
              </a:spcBef>
            </a:pPr>
            <a:r>
              <a:rPr lang="en-US" dirty="0"/>
              <a:t>Trapezoidal crimp profile</a:t>
            </a:r>
          </a:p>
          <a:p>
            <a:pPr>
              <a:spcBef>
                <a:spcPts val="600"/>
              </a:spcBef>
            </a:pPr>
            <a:r>
              <a:rPr lang="en-US" dirty="0"/>
              <a:t>UL Listed with Phoenix Contact ferrules</a:t>
            </a:r>
          </a:p>
          <a:p>
            <a:pPr marL="0" indent="0">
              <a:spcBef>
                <a:spcPts val="600"/>
              </a:spcBef>
              <a:buFont typeface="Wingdings" panose="05000000000000000000" pitchFamily="2" charset="2"/>
              <a:buNone/>
            </a:pPr>
            <a:endParaRPr lang="en-US" dirty="0"/>
          </a:p>
        </p:txBody>
      </p:sp>
      <p:sp>
        <p:nvSpPr>
          <p:cNvPr id="9" name="Content Placeholder 3">
            <a:extLst>
              <a:ext uri="{FF2B5EF4-FFF2-40B4-BE49-F238E27FC236}">
                <a16:creationId xmlns:a16="http://schemas.microsoft.com/office/drawing/2014/main" id="{0D93E1B6-D676-4776-2F23-7B0F06690C50}"/>
              </a:ext>
            </a:extLst>
          </p:cNvPr>
          <p:cNvSpPr txBox="1">
            <a:spLocks/>
          </p:cNvSpPr>
          <p:nvPr/>
        </p:nvSpPr>
        <p:spPr>
          <a:xfrm>
            <a:off x="7227507" y="2363529"/>
            <a:ext cx="4551752" cy="322318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Font typeface="Wingdings" panose="05000000000000000000" pitchFamily="2" charset="2"/>
              <a:buNone/>
            </a:pPr>
            <a:r>
              <a:rPr lang="en-US" b="1" dirty="0"/>
              <a:t>CF3000 - #1212516</a:t>
            </a:r>
          </a:p>
          <a:p>
            <a:pPr>
              <a:spcBef>
                <a:spcPts val="600"/>
              </a:spcBef>
            </a:pPr>
            <a:r>
              <a:rPr lang="en-US" dirty="0"/>
              <a:t>22-14 AWG</a:t>
            </a:r>
          </a:p>
          <a:p>
            <a:pPr>
              <a:spcBef>
                <a:spcPts val="600"/>
              </a:spcBef>
            </a:pPr>
            <a:r>
              <a:rPr lang="en-US" dirty="0"/>
              <a:t>Reeled insulated ferrules</a:t>
            </a:r>
          </a:p>
          <a:p>
            <a:pPr>
              <a:spcBef>
                <a:spcPts val="600"/>
              </a:spcBef>
            </a:pPr>
            <a:r>
              <a:rPr lang="en-US" dirty="0"/>
              <a:t>8mm fixed strip length</a:t>
            </a:r>
          </a:p>
          <a:p>
            <a:pPr>
              <a:spcBef>
                <a:spcPts val="600"/>
              </a:spcBef>
            </a:pPr>
            <a:r>
              <a:rPr lang="en-US" dirty="0"/>
              <a:t>Quick die change over</a:t>
            </a:r>
          </a:p>
          <a:p>
            <a:pPr>
              <a:spcBef>
                <a:spcPts val="600"/>
              </a:spcBef>
            </a:pPr>
            <a:r>
              <a:rPr lang="en-US" dirty="0"/>
              <a:t>Compact and lightweight design</a:t>
            </a:r>
          </a:p>
          <a:p>
            <a:pPr>
              <a:spcBef>
                <a:spcPts val="600"/>
              </a:spcBef>
            </a:pPr>
            <a:r>
              <a:rPr lang="en-US" dirty="0"/>
              <a:t>Quantity counter</a:t>
            </a:r>
          </a:p>
          <a:p>
            <a:pPr>
              <a:spcBef>
                <a:spcPts val="600"/>
              </a:spcBef>
            </a:pPr>
            <a:r>
              <a:rPr lang="en-US" dirty="0"/>
              <a:t>Trapezoidal crimp profile</a:t>
            </a:r>
          </a:p>
          <a:p>
            <a:pPr>
              <a:spcBef>
                <a:spcPts val="600"/>
              </a:spcBef>
            </a:pPr>
            <a:r>
              <a:rPr lang="en-US" dirty="0"/>
              <a:t>UL Listed with Phoenix Contact ferrules </a:t>
            </a:r>
          </a:p>
          <a:p>
            <a:pPr marL="0" indent="0">
              <a:spcBef>
                <a:spcPts val="600"/>
              </a:spcBef>
              <a:buFont typeface="Wingdings" panose="05000000000000000000" pitchFamily="2" charset="2"/>
              <a:buNone/>
            </a:pPr>
            <a:endParaRPr lang="en-US" dirty="0"/>
          </a:p>
        </p:txBody>
      </p:sp>
      <p:sp>
        <p:nvSpPr>
          <p:cNvPr id="10" name="Footer Placeholder 9">
            <a:extLst>
              <a:ext uri="{FF2B5EF4-FFF2-40B4-BE49-F238E27FC236}">
                <a16:creationId xmlns:a16="http://schemas.microsoft.com/office/drawing/2014/main" id="{1ED644C4-6D4C-B0C6-01AE-9F58390EC42D}"/>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26820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Electrician Scisso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5</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Grafik 12">
            <a:extLst>
              <a:ext uri="{FF2B5EF4-FFF2-40B4-BE49-F238E27FC236}">
                <a16:creationId xmlns:a16="http://schemas.microsoft.com/office/drawing/2014/main" id="{23225DFB-004F-7D8F-A024-5BB1ACED87FE}"/>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10476" y="1002586"/>
            <a:ext cx="3875510" cy="3875510"/>
          </a:xfrm>
          <a:prstGeom prst="rect">
            <a:avLst/>
          </a:prstGeom>
          <a:ln w="19050">
            <a:noFill/>
          </a:ln>
          <a:effectLst/>
        </p:spPr>
      </p:pic>
      <p:pic>
        <p:nvPicPr>
          <p:cNvPr id="9" name="Grafik 11">
            <a:extLst>
              <a:ext uri="{FF2B5EF4-FFF2-40B4-BE49-F238E27FC236}">
                <a16:creationId xmlns:a16="http://schemas.microsoft.com/office/drawing/2014/main" id="{9CB20B2B-2CC8-C40A-CB97-59E139DC1066}"/>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724400" y="1249447"/>
            <a:ext cx="1634519" cy="3343110"/>
          </a:xfrm>
          <a:prstGeom prst="rect">
            <a:avLst/>
          </a:prstGeom>
          <a:ln w="19050">
            <a:noFill/>
          </a:ln>
          <a:effectLst/>
        </p:spPr>
      </p:pic>
      <p:pic>
        <p:nvPicPr>
          <p:cNvPr id="10" name="Grafik 24">
            <a:extLst>
              <a:ext uri="{FF2B5EF4-FFF2-40B4-BE49-F238E27FC236}">
                <a16:creationId xmlns:a16="http://schemas.microsoft.com/office/drawing/2014/main" id="{5749B3EB-9FF6-E0D0-BFFF-0B663E7DA83B}"/>
              </a:ext>
            </a:extLst>
          </p:cNvPr>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833739" y="1659579"/>
            <a:ext cx="1050360" cy="1952894"/>
          </a:xfrm>
          <a:prstGeom prst="rect">
            <a:avLst/>
          </a:prstGeom>
          <a:ln w="19050">
            <a:noFill/>
          </a:ln>
          <a:effectLst/>
        </p:spPr>
      </p:pic>
      <p:pic>
        <p:nvPicPr>
          <p:cNvPr id="11" name="Picture 10">
            <a:extLst>
              <a:ext uri="{FF2B5EF4-FFF2-40B4-BE49-F238E27FC236}">
                <a16:creationId xmlns:a16="http://schemas.microsoft.com/office/drawing/2014/main" id="{14CFB3C7-FB10-EF58-70F2-D061BD2A11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4871" y="1554841"/>
            <a:ext cx="2854604" cy="2986762"/>
          </a:xfrm>
          <a:prstGeom prst="rect">
            <a:avLst/>
          </a:prstGeom>
        </p:spPr>
      </p:pic>
      <p:sp>
        <p:nvSpPr>
          <p:cNvPr id="12" name="Text Placeholder 3">
            <a:extLst>
              <a:ext uri="{FF2B5EF4-FFF2-40B4-BE49-F238E27FC236}">
                <a16:creationId xmlns:a16="http://schemas.microsoft.com/office/drawing/2014/main" id="{DDCB3679-0E3B-644E-A345-431F253B8E79}"/>
              </a:ext>
            </a:extLst>
          </p:cNvPr>
          <p:cNvSpPr txBox="1">
            <a:spLocks/>
          </p:cNvSpPr>
          <p:nvPr/>
        </p:nvSpPr>
        <p:spPr>
          <a:xfrm>
            <a:off x="426160" y="4536826"/>
            <a:ext cx="2955058"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ES</a:t>
            </a:r>
          </a:p>
          <a:p>
            <a:pPr marL="0" indent="0" algn="ctr">
              <a:buNone/>
            </a:pPr>
            <a:r>
              <a:rPr lang="en-US" dirty="0"/>
              <a:t>1212621</a:t>
            </a:r>
          </a:p>
          <a:p>
            <a:pPr marL="0" indent="0">
              <a:buNone/>
            </a:pPr>
            <a:r>
              <a:rPr lang="de-DE" sz="1400" dirty="0">
                <a:solidFill>
                  <a:srgbClr val="000000"/>
                </a:solidFill>
              </a:rPr>
              <a:t>Cuts</a:t>
            </a:r>
            <a:r>
              <a:rPr lang="en-US" sz="1400" dirty="0">
                <a:solidFill>
                  <a:srgbClr val="000000"/>
                </a:solidFill>
                <a:ea typeface="ヒラギノ明朝 ProN W3" charset="0"/>
                <a:cs typeface="ヒラギノ明朝 ProN W3" charset="0"/>
              </a:rPr>
              <a:t>: copper, aluminum, Kevlar fibers, and plastic   </a:t>
            </a:r>
          </a:p>
          <a:p>
            <a:pPr marL="0" indent="0" algn="ctr">
              <a:buNone/>
            </a:pPr>
            <a:endParaRPr lang="en-US" dirty="0"/>
          </a:p>
        </p:txBody>
      </p:sp>
      <p:sp>
        <p:nvSpPr>
          <p:cNvPr id="13" name="Text Placeholder 5">
            <a:extLst>
              <a:ext uri="{FF2B5EF4-FFF2-40B4-BE49-F238E27FC236}">
                <a16:creationId xmlns:a16="http://schemas.microsoft.com/office/drawing/2014/main" id="{B9A84EFC-CE93-E14B-A436-12E0C76A603C}"/>
              </a:ext>
            </a:extLst>
          </p:cNvPr>
          <p:cNvSpPr txBox="1">
            <a:spLocks/>
          </p:cNvSpPr>
          <p:nvPr/>
        </p:nvSpPr>
        <p:spPr>
          <a:xfrm>
            <a:off x="4028792" y="4529392"/>
            <a:ext cx="3486560"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ES-1</a:t>
            </a:r>
          </a:p>
          <a:p>
            <a:pPr marL="0" indent="0" algn="ctr">
              <a:buNone/>
            </a:pPr>
            <a:r>
              <a:rPr lang="en-US" dirty="0"/>
              <a:t>1139721</a:t>
            </a:r>
          </a:p>
          <a:p>
            <a:pPr marL="0" indent="0">
              <a:buNone/>
            </a:pPr>
            <a:r>
              <a:rPr lang="de-DE" sz="1400" dirty="0">
                <a:solidFill>
                  <a:srgbClr val="000000"/>
                </a:solidFill>
              </a:rPr>
              <a:t>C</a:t>
            </a:r>
            <a:r>
              <a:rPr lang="en-US" sz="1400" dirty="0" err="1">
                <a:solidFill>
                  <a:srgbClr val="000000"/>
                </a:solidFill>
                <a:ea typeface="ヒラギノ明朝 ProN W3" charset="0"/>
                <a:cs typeface="ヒラギノ明朝 ProN W3" charset="0"/>
              </a:rPr>
              <a:t>uts</a:t>
            </a:r>
            <a:r>
              <a:rPr lang="en-US" sz="1400" dirty="0">
                <a:solidFill>
                  <a:srgbClr val="000000"/>
                </a:solidFill>
                <a:ea typeface="ヒラギノ明朝 ProN W3" charset="0"/>
                <a:cs typeface="ヒラギノ明朝 ProN W3" charset="0"/>
              </a:rPr>
              <a:t>: &lt; 8 AWG Dismantling: &lt; 2 AWG</a:t>
            </a:r>
          </a:p>
          <a:p>
            <a:pPr marL="0" indent="0" algn="ctr">
              <a:buNone/>
            </a:pPr>
            <a:endParaRPr lang="en-US" dirty="0"/>
          </a:p>
        </p:txBody>
      </p:sp>
      <p:sp>
        <p:nvSpPr>
          <p:cNvPr id="14" name="Text Placeholder 7">
            <a:extLst>
              <a:ext uri="{FF2B5EF4-FFF2-40B4-BE49-F238E27FC236}">
                <a16:creationId xmlns:a16="http://schemas.microsoft.com/office/drawing/2014/main" id="{4897802A-D2ED-E078-F9D9-7C11BC43CFD1}"/>
              </a:ext>
            </a:extLst>
          </p:cNvPr>
          <p:cNvSpPr txBox="1">
            <a:spLocks/>
          </p:cNvSpPr>
          <p:nvPr/>
        </p:nvSpPr>
        <p:spPr>
          <a:xfrm>
            <a:off x="7677150" y="4464146"/>
            <a:ext cx="3421940" cy="1403254"/>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MPS</a:t>
            </a:r>
          </a:p>
          <a:p>
            <a:pPr marL="0" indent="0" algn="ctr">
              <a:buNone/>
            </a:pPr>
            <a:r>
              <a:rPr lang="en-US" dirty="0"/>
              <a:t>1139725</a:t>
            </a:r>
          </a:p>
          <a:p>
            <a:pPr marL="0" indent="0">
              <a:buNone/>
            </a:pPr>
            <a:r>
              <a:rPr lang="de-DE" sz="1400" dirty="0">
                <a:solidFill>
                  <a:srgbClr val="000000"/>
                </a:solidFill>
              </a:rPr>
              <a:t>C</a:t>
            </a:r>
            <a:r>
              <a:rPr lang="en-US" sz="1400" dirty="0" err="1">
                <a:solidFill>
                  <a:srgbClr val="000000"/>
                </a:solidFill>
                <a:ea typeface="ヒラギノ明朝 ProN W3" charset="0"/>
                <a:cs typeface="ヒラギノ明朝 ProN W3" charset="0"/>
              </a:rPr>
              <a:t>uts</a:t>
            </a:r>
            <a:r>
              <a:rPr lang="en-US" sz="1400" dirty="0">
                <a:solidFill>
                  <a:srgbClr val="000000"/>
                </a:solidFill>
                <a:ea typeface="ヒラギノ明朝 ProN W3" charset="0"/>
                <a:cs typeface="ヒラギノ明朝 ProN W3" charset="0"/>
              </a:rPr>
              <a:t>: sheets, plastics, cards…and the back blades for cartons    </a:t>
            </a:r>
          </a:p>
          <a:p>
            <a:pPr marL="0" indent="0" algn="ctr">
              <a:buNone/>
            </a:pPr>
            <a:endParaRPr lang="en-US" dirty="0"/>
          </a:p>
        </p:txBody>
      </p:sp>
      <p:sp>
        <p:nvSpPr>
          <p:cNvPr id="4" name="Footer Placeholder 3">
            <a:extLst>
              <a:ext uri="{FF2B5EF4-FFF2-40B4-BE49-F238E27FC236}">
                <a16:creationId xmlns:a16="http://schemas.microsoft.com/office/drawing/2014/main" id="{CDA34752-4444-E266-1B9E-88D6172CDD51}"/>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3261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50</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Wire Cutting and Stripping Devices</a:t>
            </a:r>
          </a:p>
        </p:txBody>
      </p:sp>
      <p:pic>
        <p:nvPicPr>
          <p:cNvPr id="3" name="Picture 2">
            <a:extLst>
              <a:ext uri="{FF2B5EF4-FFF2-40B4-BE49-F238E27FC236}">
                <a16:creationId xmlns:a16="http://schemas.microsoft.com/office/drawing/2014/main" id="{05674E9E-526E-FF74-B07A-333DECAF2D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0507" y="1487266"/>
            <a:ext cx="2477606" cy="2593383"/>
          </a:xfrm>
          <a:prstGeom prst="rect">
            <a:avLst/>
          </a:prstGeom>
        </p:spPr>
      </p:pic>
      <p:pic>
        <p:nvPicPr>
          <p:cNvPr id="4" name="Picture 3">
            <a:extLst>
              <a:ext uri="{FF2B5EF4-FFF2-40B4-BE49-F238E27FC236}">
                <a16:creationId xmlns:a16="http://schemas.microsoft.com/office/drawing/2014/main" id="{DBF2149A-0190-82C9-3F33-60DFFA0E9E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66959" y="474471"/>
            <a:ext cx="2604020" cy="2725703"/>
          </a:xfrm>
          <a:prstGeom prst="rect">
            <a:avLst/>
          </a:prstGeom>
        </p:spPr>
      </p:pic>
      <p:sp>
        <p:nvSpPr>
          <p:cNvPr id="5" name="Content Placeholder 3">
            <a:extLst>
              <a:ext uri="{FF2B5EF4-FFF2-40B4-BE49-F238E27FC236}">
                <a16:creationId xmlns:a16="http://schemas.microsoft.com/office/drawing/2014/main" id="{15305A65-86E8-EE21-297C-2D6786E3271C}"/>
              </a:ext>
            </a:extLst>
          </p:cNvPr>
          <p:cNvSpPr txBox="1">
            <a:spLocks/>
          </p:cNvSpPr>
          <p:nvPr/>
        </p:nvSpPr>
        <p:spPr>
          <a:xfrm>
            <a:off x="7025876" y="3092030"/>
            <a:ext cx="4905693" cy="243331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en-US" b="1" dirty="0"/>
              <a:t>WF1000 – Part #1212258</a:t>
            </a:r>
          </a:p>
          <a:p>
            <a:pPr>
              <a:spcBef>
                <a:spcPts val="600"/>
              </a:spcBef>
            </a:pPr>
            <a:r>
              <a:rPr lang="en-US" dirty="0"/>
              <a:t>Automatic wire stripping device</a:t>
            </a:r>
          </a:p>
          <a:p>
            <a:pPr>
              <a:spcBef>
                <a:spcPts val="600"/>
              </a:spcBef>
            </a:pPr>
            <a:r>
              <a:rPr lang="en-US" dirty="0"/>
              <a:t>28-10 AWG capacity</a:t>
            </a:r>
          </a:p>
          <a:p>
            <a:pPr>
              <a:spcBef>
                <a:spcPts val="600"/>
              </a:spcBef>
            </a:pPr>
            <a:r>
              <a:rPr lang="en-US" dirty="0"/>
              <a:t>Full strip lengths between 3-20mm</a:t>
            </a:r>
          </a:p>
          <a:p>
            <a:pPr>
              <a:spcBef>
                <a:spcPts val="600"/>
              </a:spcBef>
            </a:pPr>
            <a:r>
              <a:rPr lang="en-US" dirty="0"/>
              <a:t>Partial strip lengths between 2-20mm</a:t>
            </a:r>
          </a:p>
          <a:p>
            <a:pPr>
              <a:spcBef>
                <a:spcPts val="600"/>
              </a:spcBef>
            </a:pPr>
            <a:r>
              <a:rPr lang="en-US" dirty="0"/>
              <a:t>User friendly operations</a:t>
            </a:r>
          </a:p>
          <a:p>
            <a:pPr>
              <a:spcBef>
                <a:spcPts val="600"/>
              </a:spcBef>
            </a:pPr>
            <a:r>
              <a:rPr lang="en-US" dirty="0"/>
              <a:t>Visible settings table provided on top of unit</a:t>
            </a:r>
          </a:p>
        </p:txBody>
      </p:sp>
      <p:sp>
        <p:nvSpPr>
          <p:cNvPr id="6" name="Content Placeholder 3">
            <a:extLst>
              <a:ext uri="{FF2B5EF4-FFF2-40B4-BE49-F238E27FC236}">
                <a16:creationId xmlns:a16="http://schemas.microsoft.com/office/drawing/2014/main" id="{25D8CDBD-BF81-25D7-B319-C281C34E30F4}"/>
              </a:ext>
            </a:extLst>
          </p:cNvPr>
          <p:cNvSpPr txBox="1">
            <a:spLocks/>
          </p:cNvSpPr>
          <p:nvPr/>
        </p:nvSpPr>
        <p:spPr>
          <a:xfrm>
            <a:off x="458274" y="1942460"/>
            <a:ext cx="4905693" cy="4500298"/>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en-US" b="1" dirty="0"/>
              <a:t>CUTFOX 10 – Part #1206829</a:t>
            </a:r>
          </a:p>
          <a:p>
            <a:pPr>
              <a:spcBef>
                <a:spcPts val="600"/>
              </a:spcBef>
            </a:pPr>
            <a:r>
              <a:rPr lang="en-US" dirty="0"/>
              <a:t>Automatic wire cutting machine</a:t>
            </a:r>
          </a:p>
          <a:p>
            <a:pPr>
              <a:spcBef>
                <a:spcPts val="600"/>
              </a:spcBef>
            </a:pPr>
            <a:r>
              <a:rPr lang="en-US" dirty="0"/>
              <a:t>24-8 AWG stranded</a:t>
            </a:r>
          </a:p>
          <a:p>
            <a:pPr>
              <a:spcBef>
                <a:spcPts val="600"/>
              </a:spcBef>
            </a:pPr>
            <a:r>
              <a:rPr lang="en-US" dirty="0"/>
              <a:t>Cross section self adjusting</a:t>
            </a:r>
          </a:p>
          <a:p>
            <a:pPr>
              <a:spcBef>
                <a:spcPts val="600"/>
              </a:spcBef>
            </a:pPr>
            <a:r>
              <a:rPr lang="en-US" dirty="0"/>
              <a:t>Metric or English measurement</a:t>
            </a:r>
          </a:p>
          <a:p>
            <a:pPr>
              <a:spcBef>
                <a:spcPts val="600"/>
              </a:spcBef>
            </a:pPr>
            <a:r>
              <a:rPr lang="en-US" dirty="0"/>
              <a:t>Quantity Counter</a:t>
            </a:r>
          </a:p>
          <a:p>
            <a:pPr>
              <a:spcBef>
                <a:spcPts val="600"/>
              </a:spcBef>
            </a:pPr>
            <a:r>
              <a:rPr lang="en-US" dirty="0"/>
              <a:t>Microsoft Excel supported for user friendly data transfer</a:t>
            </a:r>
          </a:p>
          <a:p>
            <a:pPr>
              <a:spcBef>
                <a:spcPts val="600"/>
              </a:spcBef>
            </a:pPr>
            <a:r>
              <a:rPr lang="en-US" dirty="0"/>
              <a:t>Cut conductors and lines up to 8 AWG within a millimeter</a:t>
            </a:r>
          </a:p>
          <a:p>
            <a:pPr>
              <a:spcBef>
                <a:spcPts val="600"/>
              </a:spcBef>
            </a:pPr>
            <a:r>
              <a:rPr lang="en-US" dirty="0"/>
              <a:t>Desired length and number are entered via a user-friendly display</a:t>
            </a:r>
          </a:p>
        </p:txBody>
      </p:sp>
      <p:sp>
        <p:nvSpPr>
          <p:cNvPr id="9" name="Footer Placeholder 8">
            <a:extLst>
              <a:ext uri="{FF2B5EF4-FFF2-40B4-BE49-F238E27FC236}">
                <a16:creationId xmlns:a16="http://schemas.microsoft.com/office/drawing/2014/main" id="{FA7C02F7-E3D6-FFC9-A699-B770A3F629F8}"/>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98639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51</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Automatic Crimping Devices</a:t>
            </a:r>
          </a:p>
        </p:txBody>
      </p:sp>
      <p:pic>
        <p:nvPicPr>
          <p:cNvPr id="3" name="Picture 2">
            <a:extLst>
              <a:ext uri="{FF2B5EF4-FFF2-40B4-BE49-F238E27FC236}">
                <a16:creationId xmlns:a16="http://schemas.microsoft.com/office/drawing/2014/main" id="{75E24C96-FD67-87E4-6E5F-A47D236F28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9231" y="1332159"/>
            <a:ext cx="2796668" cy="2919869"/>
          </a:xfrm>
          <a:prstGeom prst="rect">
            <a:avLst/>
          </a:prstGeom>
        </p:spPr>
      </p:pic>
      <p:pic>
        <p:nvPicPr>
          <p:cNvPr id="4" name="Picture 3">
            <a:extLst>
              <a:ext uri="{FF2B5EF4-FFF2-40B4-BE49-F238E27FC236}">
                <a16:creationId xmlns:a16="http://schemas.microsoft.com/office/drawing/2014/main" id="{6EE4A446-C789-271E-1AD2-D22EE5FE33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05961" y="3884499"/>
            <a:ext cx="1829877" cy="1699090"/>
          </a:xfrm>
          <a:prstGeom prst="rect">
            <a:avLst/>
          </a:prstGeom>
        </p:spPr>
      </p:pic>
      <p:pic>
        <p:nvPicPr>
          <p:cNvPr id="5" name="Picture 4">
            <a:extLst>
              <a:ext uri="{FF2B5EF4-FFF2-40B4-BE49-F238E27FC236}">
                <a16:creationId xmlns:a16="http://schemas.microsoft.com/office/drawing/2014/main" id="{3375560B-3B2D-C37E-AC85-C794F88A122C}"/>
              </a:ext>
            </a:extLst>
          </p:cNvPr>
          <p:cNvPicPr>
            <a:picLocks noChangeAspect="1"/>
          </p:cNvPicPr>
          <p:nvPr/>
        </p:nvPicPr>
        <p:blipFill rotWithShape="1">
          <a:blip r:embed="rId5">
            <a:extLst>
              <a:ext uri="{28A0092B-C50C-407E-A947-70E740481C1C}">
                <a14:useLocalDpi xmlns:a14="http://schemas.microsoft.com/office/drawing/2010/main" val="0"/>
              </a:ext>
            </a:extLst>
          </a:blip>
          <a:srcRect l="29349" t="12468" r="30116"/>
          <a:stretch/>
        </p:blipFill>
        <p:spPr>
          <a:xfrm rot="16200000">
            <a:off x="8570881" y="3616427"/>
            <a:ext cx="1339201" cy="2421636"/>
          </a:xfrm>
          <a:prstGeom prst="rect">
            <a:avLst/>
          </a:prstGeom>
        </p:spPr>
      </p:pic>
      <p:sp>
        <p:nvSpPr>
          <p:cNvPr id="6" name="Content Placeholder 3">
            <a:extLst>
              <a:ext uri="{FF2B5EF4-FFF2-40B4-BE49-F238E27FC236}">
                <a16:creationId xmlns:a16="http://schemas.microsoft.com/office/drawing/2014/main" id="{7098425F-773F-EC09-31A5-278D7205A381}"/>
              </a:ext>
            </a:extLst>
          </p:cNvPr>
          <p:cNvSpPr txBox="1">
            <a:spLocks/>
          </p:cNvSpPr>
          <p:nvPr/>
        </p:nvSpPr>
        <p:spPr>
          <a:xfrm>
            <a:off x="467430" y="1519111"/>
            <a:ext cx="6174002" cy="4871822"/>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None/>
            </a:pPr>
            <a:r>
              <a:rPr lang="en-US" b="1" dirty="0"/>
              <a:t>CF500 – Part #1208351</a:t>
            </a:r>
          </a:p>
          <a:p>
            <a:pPr>
              <a:spcBef>
                <a:spcPts val="600"/>
              </a:spcBef>
            </a:pPr>
            <a:r>
              <a:rPr lang="en-US" dirty="0"/>
              <a:t>High compression capacity in a compact design</a:t>
            </a:r>
          </a:p>
          <a:p>
            <a:pPr>
              <a:spcBef>
                <a:spcPts val="600"/>
              </a:spcBef>
            </a:pPr>
            <a:r>
              <a:rPr lang="en-US" dirty="0"/>
              <a:t>Foot pedal activated</a:t>
            </a:r>
          </a:p>
          <a:p>
            <a:pPr>
              <a:spcBef>
                <a:spcPts val="600"/>
              </a:spcBef>
            </a:pPr>
            <a:r>
              <a:rPr lang="en-US" dirty="0"/>
              <a:t>Safety cover</a:t>
            </a:r>
          </a:p>
          <a:p>
            <a:pPr>
              <a:spcBef>
                <a:spcPts val="600"/>
              </a:spcBef>
            </a:pPr>
            <a:r>
              <a:rPr lang="en-US" dirty="0"/>
              <a:t>Quantity Counter</a:t>
            </a:r>
          </a:p>
          <a:p>
            <a:pPr>
              <a:spcBef>
                <a:spcPts val="600"/>
              </a:spcBef>
            </a:pPr>
            <a:r>
              <a:rPr lang="en-US" dirty="0"/>
              <a:t>Processing of connectors</a:t>
            </a:r>
          </a:p>
          <a:p>
            <a:pPr lvl="1">
              <a:spcBef>
                <a:spcPts val="600"/>
              </a:spcBef>
            </a:pPr>
            <a:r>
              <a:rPr lang="en-US" dirty="0"/>
              <a:t>Ferrules up to 1/0</a:t>
            </a:r>
          </a:p>
          <a:p>
            <a:pPr lvl="1">
              <a:spcBef>
                <a:spcPts val="600"/>
              </a:spcBef>
            </a:pPr>
            <a:r>
              <a:rPr lang="en-US" dirty="0"/>
              <a:t>TWIN ferrules up to 2 x 8 AWG</a:t>
            </a:r>
          </a:p>
          <a:p>
            <a:pPr lvl="1">
              <a:spcBef>
                <a:spcPts val="600"/>
              </a:spcBef>
            </a:pPr>
            <a:r>
              <a:rPr lang="en-US" dirty="0"/>
              <a:t>Insulated and non-insulated cable lugs up to 6 mm²</a:t>
            </a:r>
          </a:p>
          <a:p>
            <a:pPr lvl="1">
              <a:spcBef>
                <a:spcPts val="600"/>
              </a:spcBef>
            </a:pPr>
            <a:r>
              <a:rPr lang="en-US" dirty="0"/>
              <a:t>Tube lugs up to 8 AWG</a:t>
            </a:r>
          </a:p>
          <a:p>
            <a:pPr lvl="1">
              <a:spcBef>
                <a:spcPts val="600"/>
              </a:spcBef>
            </a:pPr>
            <a:r>
              <a:rPr lang="en-US" dirty="0"/>
              <a:t>Slip-on sleeves and flat connectors up to 10 AWG</a:t>
            </a:r>
          </a:p>
          <a:p>
            <a:pPr lvl="1">
              <a:spcBef>
                <a:spcPts val="600"/>
              </a:spcBef>
            </a:pPr>
            <a:r>
              <a:rPr lang="en-US" dirty="0"/>
              <a:t>Turned contacts up to 8 AWG</a:t>
            </a:r>
          </a:p>
          <a:p>
            <a:pPr lvl="1">
              <a:spcBef>
                <a:spcPts val="600"/>
              </a:spcBef>
            </a:pPr>
            <a:r>
              <a:rPr lang="en-US" dirty="0"/>
              <a:t>Cuts FBS plug in bridges</a:t>
            </a:r>
          </a:p>
        </p:txBody>
      </p:sp>
      <p:sp>
        <p:nvSpPr>
          <p:cNvPr id="9" name="Content Placeholder 3">
            <a:extLst>
              <a:ext uri="{FF2B5EF4-FFF2-40B4-BE49-F238E27FC236}">
                <a16:creationId xmlns:a16="http://schemas.microsoft.com/office/drawing/2014/main" id="{37369A1D-A2E3-F7D7-7322-9CF8565EEBB8}"/>
              </a:ext>
            </a:extLst>
          </p:cNvPr>
          <p:cNvSpPr txBox="1">
            <a:spLocks/>
          </p:cNvSpPr>
          <p:nvPr/>
        </p:nvSpPr>
        <p:spPr>
          <a:xfrm>
            <a:off x="7944613" y="1237937"/>
            <a:ext cx="3636989" cy="296346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600"/>
              </a:spcBef>
              <a:buFont typeface="Wingdings" panose="05000000000000000000" pitchFamily="2" charset="2"/>
              <a:buNone/>
            </a:pPr>
            <a:r>
              <a:rPr lang="en-US" b="1" dirty="0"/>
              <a:t>ZAP 25 , 40 and 100</a:t>
            </a:r>
          </a:p>
          <a:p>
            <a:pPr>
              <a:spcBef>
                <a:spcPts val="600"/>
              </a:spcBef>
            </a:pPr>
            <a:r>
              <a:rPr lang="en-US" dirty="0"/>
              <a:t>Pneumatic handle or foot pedal activated ferrule crimper </a:t>
            </a:r>
          </a:p>
          <a:p>
            <a:pPr>
              <a:spcBef>
                <a:spcPts val="600"/>
              </a:spcBef>
            </a:pPr>
            <a:r>
              <a:rPr lang="en-US" dirty="0"/>
              <a:t>24-8 AWG (full line)</a:t>
            </a:r>
          </a:p>
          <a:p>
            <a:pPr>
              <a:spcBef>
                <a:spcPts val="600"/>
              </a:spcBef>
            </a:pPr>
            <a:r>
              <a:rPr lang="en-US" dirty="0"/>
              <a:t>Twin ferrule processing capability</a:t>
            </a:r>
          </a:p>
          <a:p>
            <a:pPr>
              <a:spcBef>
                <a:spcPts val="600"/>
              </a:spcBef>
            </a:pPr>
            <a:r>
              <a:rPr lang="en-US" dirty="0"/>
              <a:t>Front or side load options </a:t>
            </a:r>
          </a:p>
          <a:p>
            <a:pPr>
              <a:spcBef>
                <a:spcPts val="600"/>
              </a:spcBef>
            </a:pPr>
            <a:r>
              <a:rPr lang="en-US" dirty="0"/>
              <a:t>Tabletop versions available (T)</a:t>
            </a:r>
          </a:p>
        </p:txBody>
      </p:sp>
      <p:sp>
        <p:nvSpPr>
          <p:cNvPr id="10" name="Footer Placeholder 9">
            <a:extLst>
              <a:ext uri="{FF2B5EF4-FFF2-40B4-BE49-F238E27FC236}">
                <a16:creationId xmlns:a16="http://schemas.microsoft.com/office/drawing/2014/main" id="{AAA4C1E1-BB53-77CF-40CA-3D9BD59A47C6}"/>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310773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52</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13" name="Title 12">
            <a:extLst>
              <a:ext uri="{FF2B5EF4-FFF2-40B4-BE49-F238E27FC236}">
                <a16:creationId xmlns:a16="http://schemas.microsoft.com/office/drawing/2014/main" id="{2DD234BC-11D7-3C3D-1399-61945CAED2DC}"/>
              </a:ext>
            </a:extLst>
          </p:cNvPr>
          <p:cNvSpPr>
            <a:spLocks noGrp="1"/>
          </p:cNvSpPr>
          <p:nvPr>
            <p:ph type="title"/>
          </p:nvPr>
        </p:nvSpPr>
        <p:spPr/>
        <p:txBody>
          <a:bodyPr/>
          <a:lstStyle/>
          <a:p>
            <a:r>
              <a:rPr lang="en-US" dirty="0"/>
              <a:t>TOOL fox Resources</a:t>
            </a:r>
          </a:p>
        </p:txBody>
      </p:sp>
      <p:pic>
        <p:nvPicPr>
          <p:cNvPr id="3" name="Content Placeholder 7">
            <a:extLst>
              <a:ext uri="{FF2B5EF4-FFF2-40B4-BE49-F238E27FC236}">
                <a16:creationId xmlns:a16="http://schemas.microsoft.com/office/drawing/2014/main" id="{45CED3B7-A077-4E88-9664-2E9DD1DC57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6963166" y="251266"/>
            <a:ext cx="5161802" cy="5699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a:extLst>
              <a:ext uri="{FF2B5EF4-FFF2-40B4-BE49-F238E27FC236}">
                <a16:creationId xmlns:a16="http://schemas.microsoft.com/office/drawing/2014/main" id="{9A6F5E53-C942-E65A-32FA-642D6C8437DC}"/>
              </a:ext>
            </a:extLst>
          </p:cNvPr>
          <p:cNvSpPr txBox="1">
            <a:spLocks/>
          </p:cNvSpPr>
          <p:nvPr/>
        </p:nvSpPr>
        <p:spPr>
          <a:xfrm>
            <a:off x="760601" y="2291177"/>
            <a:ext cx="6091612" cy="218557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Limited Lifetime Warranty covers all non-wearable parts on the hand tools.  </a:t>
            </a:r>
          </a:p>
          <a:p>
            <a:pPr>
              <a:spcBef>
                <a:spcPts val="600"/>
              </a:spcBef>
            </a:pPr>
            <a:r>
              <a:rPr lang="en-US" dirty="0"/>
              <a:t>For tutorial videos, manuals, calibration certificates and to request samples and brochures, please visit the resource page on our website at </a:t>
            </a:r>
            <a:r>
              <a:rPr lang="en-US" b="1" dirty="0">
                <a:hlinkClick r:id="rId4"/>
              </a:rPr>
              <a:t>www.phoenixcontact.com/us-TOOLfox</a:t>
            </a:r>
            <a:r>
              <a:rPr lang="en-US" b="1" dirty="0"/>
              <a:t> </a:t>
            </a:r>
          </a:p>
        </p:txBody>
      </p:sp>
      <p:sp>
        <p:nvSpPr>
          <p:cNvPr id="5" name="Footer Placeholder 4">
            <a:extLst>
              <a:ext uri="{FF2B5EF4-FFF2-40B4-BE49-F238E27FC236}">
                <a16:creationId xmlns:a16="http://schemas.microsoft.com/office/drawing/2014/main" id="{96EB2158-D3EB-3579-CBB7-61F9E29E8F33}"/>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190914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40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Front Cable Cutt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6</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4">
            <a:extLst>
              <a:ext uri="{FF2B5EF4-FFF2-40B4-BE49-F238E27FC236}">
                <a16:creationId xmlns:a16="http://schemas.microsoft.com/office/drawing/2014/main" id="{376F1FB6-FA99-1AC1-8706-1BBB1093A42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78" t="8641" r="-11278" b="920"/>
          <a:stretch/>
        </p:blipFill>
        <p:spPr bwMode="auto">
          <a:xfrm>
            <a:off x="220529" y="2407534"/>
            <a:ext cx="2541899" cy="191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6193C293-FFFE-9F23-CC39-CBCDDEA16A3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1337" t="13007" r="-9272" b="47"/>
          <a:stretch/>
        </p:blipFill>
        <p:spPr bwMode="auto">
          <a:xfrm>
            <a:off x="2381250" y="2260169"/>
            <a:ext cx="2903333" cy="2190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ACFB2456-D2FF-E0BE-468E-2FD0BDD577F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7986" y="1722965"/>
            <a:ext cx="2619833" cy="2744587"/>
          </a:xfrm>
          <a:prstGeom prst="rect">
            <a:avLst/>
          </a:prstGeom>
        </p:spPr>
      </p:pic>
      <p:pic>
        <p:nvPicPr>
          <p:cNvPr id="11" name="Picture 2">
            <a:extLst>
              <a:ext uri="{FF2B5EF4-FFF2-40B4-BE49-F238E27FC236}">
                <a16:creationId xmlns:a16="http://schemas.microsoft.com/office/drawing/2014/main" id="{A5DFE5D6-DA32-8DAF-B105-27BE65B178D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169" t="9041" r="-10654" b="976"/>
          <a:stretch/>
        </p:blipFill>
        <p:spPr bwMode="auto">
          <a:xfrm>
            <a:off x="6532988" y="1768107"/>
            <a:ext cx="3491131" cy="263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a:extLst>
              <a:ext uri="{FF2B5EF4-FFF2-40B4-BE49-F238E27FC236}">
                <a16:creationId xmlns:a16="http://schemas.microsoft.com/office/drawing/2014/main" id="{C63C7FF7-6EA2-E219-AA77-62CF6AC120E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377" t="13065" r="-9072" b="105"/>
          <a:stretch/>
        </p:blipFill>
        <p:spPr bwMode="auto">
          <a:xfrm>
            <a:off x="8567199" y="1574107"/>
            <a:ext cx="3792144" cy="2861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3">
            <a:extLst>
              <a:ext uri="{FF2B5EF4-FFF2-40B4-BE49-F238E27FC236}">
                <a16:creationId xmlns:a16="http://schemas.microsoft.com/office/drawing/2014/main" id="{6AA462D3-857C-E33B-80B9-E7D55BE5D061}"/>
              </a:ext>
            </a:extLst>
          </p:cNvPr>
          <p:cNvSpPr txBox="1">
            <a:spLocks/>
          </p:cNvSpPr>
          <p:nvPr/>
        </p:nvSpPr>
        <p:spPr>
          <a:xfrm>
            <a:off x="680854" y="4483430"/>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12</a:t>
            </a:r>
          </a:p>
          <a:p>
            <a:pPr marL="0" indent="0" algn="ctr">
              <a:buNone/>
            </a:pPr>
            <a:r>
              <a:rPr lang="en-US" dirty="0"/>
              <a:t>1212128</a:t>
            </a:r>
          </a:p>
          <a:p>
            <a:pPr marL="0" indent="0" algn="ctr">
              <a:buNone/>
            </a:pPr>
            <a:r>
              <a:rPr lang="en-US" sz="1400" dirty="0"/>
              <a:t>Up to 12 mm</a:t>
            </a:r>
            <a:endParaRPr lang="en-US" dirty="0"/>
          </a:p>
        </p:txBody>
      </p:sp>
      <p:sp>
        <p:nvSpPr>
          <p:cNvPr id="14" name="Text Placeholder 5">
            <a:extLst>
              <a:ext uri="{FF2B5EF4-FFF2-40B4-BE49-F238E27FC236}">
                <a16:creationId xmlns:a16="http://schemas.microsoft.com/office/drawing/2014/main" id="{52A0A5E1-245B-1912-2968-74D4B41EE8DC}"/>
              </a:ext>
            </a:extLst>
          </p:cNvPr>
          <p:cNvSpPr txBox="1">
            <a:spLocks/>
          </p:cNvSpPr>
          <p:nvPr/>
        </p:nvSpPr>
        <p:spPr>
          <a:xfrm>
            <a:off x="2959710" y="4467162"/>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18</a:t>
            </a:r>
          </a:p>
          <a:p>
            <a:pPr marL="0" indent="0" algn="ctr">
              <a:buNone/>
            </a:pPr>
            <a:r>
              <a:rPr lang="en-US" dirty="0"/>
              <a:t>1212129</a:t>
            </a:r>
          </a:p>
          <a:p>
            <a:pPr marL="0" indent="0" algn="ctr">
              <a:buNone/>
            </a:pPr>
            <a:r>
              <a:rPr lang="en-US" sz="1400" dirty="0"/>
              <a:t>Up to 18 mm</a:t>
            </a:r>
            <a:endParaRPr lang="en-US" dirty="0"/>
          </a:p>
        </p:txBody>
      </p:sp>
      <p:sp>
        <p:nvSpPr>
          <p:cNvPr id="15" name="Text Placeholder 5">
            <a:extLst>
              <a:ext uri="{FF2B5EF4-FFF2-40B4-BE49-F238E27FC236}">
                <a16:creationId xmlns:a16="http://schemas.microsoft.com/office/drawing/2014/main" id="{FB7E3D45-ED4E-826B-441B-3B1596A3E17E}"/>
              </a:ext>
            </a:extLst>
          </p:cNvPr>
          <p:cNvSpPr txBox="1">
            <a:spLocks/>
          </p:cNvSpPr>
          <p:nvPr/>
        </p:nvSpPr>
        <p:spPr>
          <a:xfrm>
            <a:off x="5038376" y="4483429"/>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SE</a:t>
            </a:r>
          </a:p>
          <a:p>
            <a:pPr marL="0" indent="0" algn="ctr">
              <a:buNone/>
            </a:pPr>
            <a:r>
              <a:rPr lang="en-US" dirty="0"/>
              <a:t>1212832</a:t>
            </a:r>
          </a:p>
          <a:p>
            <a:pPr marL="0" indent="0" algn="ctr">
              <a:buNone/>
            </a:pPr>
            <a:r>
              <a:rPr lang="en-US" sz="1400" dirty="0"/>
              <a:t>Up to 180 mm</a:t>
            </a:r>
            <a:endParaRPr lang="en-US" dirty="0"/>
          </a:p>
        </p:txBody>
      </p:sp>
      <p:sp>
        <p:nvSpPr>
          <p:cNvPr id="16" name="Text Placeholder 7">
            <a:extLst>
              <a:ext uri="{FF2B5EF4-FFF2-40B4-BE49-F238E27FC236}">
                <a16:creationId xmlns:a16="http://schemas.microsoft.com/office/drawing/2014/main" id="{C100C0B0-9B8E-A38F-DCA8-CB0EB5FA1BC4}"/>
              </a:ext>
            </a:extLst>
          </p:cNvPr>
          <p:cNvSpPr txBox="1">
            <a:spLocks/>
          </p:cNvSpPr>
          <p:nvPr/>
        </p:nvSpPr>
        <p:spPr>
          <a:xfrm>
            <a:off x="7415514" y="4435662"/>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25</a:t>
            </a:r>
          </a:p>
          <a:p>
            <a:pPr marL="0" indent="0" algn="ctr">
              <a:buNone/>
            </a:pPr>
            <a:r>
              <a:rPr lang="en-US" dirty="0"/>
              <a:t>1212130</a:t>
            </a:r>
          </a:p>
          <a:p>
            <a:pPr marL="0" indent="0" algn="ctr">
              <a:buNone/>
            </a:pPr>
            <a:r>
              <a:rPr lang="en-US" sz="1400" dirty="0"/>
              <a:t>Up to 25 mm</a:t>
            </a:r>
            <a:endParaRPr lang="en-US" dirty="0"/>
          </a:p>
        </p:txBody>
      </p:sp>
      <p:sp>
        <p:nvSpPr>
          <p:cNvPr id="17" name="Text Placeholder 9">
            <a:extLst>
              <a:ext uri="{FF2B5EF4-FFF2-40B4-BE49-F238E27FC236}">
                <a16:creationId xmlns:a16="http://schemas.microsoft.com/office/drawing/2014/main" id="{F124E2F8-B410-697F-4EF6-2DFFC5BC7EC0}"/>
              </a:ext>
            </a:extLst>
          </p:cNvPr>
          <p:cNvSpPr txBox="1">
            <a:spLocks/>
          </p:cNvSpPr>
          <p:nvPr/>
        </p:nvSpPr>
        <p:spPr>
          <a:xfrm>
            <a:off x="9744014" y="4418560"/>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35</a:t>
            </a:r>
          </a:p>
          <a:p>
            <a:pPr marL="0" indent="0" algn="ctr">
              <a:buNone/>
            </a:pPr>
            <a:r>
              <a:rPr lang="en-US" dirty="0"/>
              <a:t>1212131</a:t>
            </a:r>
          </a:p>
          <a:p>
            <a:pPr marL="0" indent="0" algn="ctr">
              <a:buNone/>
            </a:pPr>
            <a:r>
              <a:rPr lang="en-US" sz="1400" dirty="0"/>
              <a:t>Up to 35 mm</a:t>
            </a:r>
            <a:endParaRPr lang="en-US" dirty="0"/>
          </a:p>
        </p:txBody>
      </p:sp>
      <p:sp>
        <p:nvSpPr>
          <p:cNvPr id="4" name="Footer Placeholder 3">
            <a:extLst>
              <a:ext uri="{FF2B5EF4-FFF2-40B4-BE49-F238E27FC236}">
                <a16:creationId xmlns:a16="http://schemas.microsoft.com/office/drawing/2014/main" id="{FF4EBE14-9C27-6C87-B90A-EE47ED56CFB3}"/>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409449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18 Features and Benefit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7</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sp>
        <p:nvSpPr>
          <p:cNvPr id="6" name="Content Placeholder 3">
            <a:extLst>
              <a:ext uri="{FF2B5EF4-FFF2-40B4-BE49-F238E27FC236}">
                <a16:creationId xmlns:a16="http://schemas.microsoft.com/office/drawing/2014/main" id="{9BD6FB9A-2D15-E132-8205-30D53FFB4A82}"/>
              </a:ext>
            </a:extLst>
          </p:cNvPr>
          <p:cNvSpPr txBox="1">
            <a:spLocks/>
          </p:cNvSpPr>
          <p:nvPr/>
        </p:nvSpPr>
        <p:spPr>
          <a:xfrm>
            <a:off x="761559" y="2069284"/>
            <a:ext cx="5572565" cy="1940741"/>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en-US" dirty="0"/>
              <a:t>Spring loaded handles</a:t>
            </a:r>
          </a:p>
          <a:p>
            <a:pPr>
              <a:spcBef>
                <a:spcPts val="600"/>
              </a:spcBef>
            </a:pPr>
            <a:r>
              <a:rPr lang="en-US" dirty="0"/>
              <a:t>Locking mechanism provides safety</a:t>
            </a:r>
          </a:p>
          <a:p>
            <a:pPr>
              <a:spcBef>
                <a:spcPts val="600"/>
              </a:spcBef>
            </a:pPr>
            <a:r>
              <a:rPr lang="en-US" dirty="0"/>
              <a:t>Ergonomic design</a:t>
            </a:r>
          </a:p>
          <a:p>
            <a:pPr>
              <a:spcBef>
                <a:spcPts val="600"/>
              </a:spcBef>
            </a:pPr>
            <a:r>
              <a:rPr lang="en-US" dirty="0"/>
              <a:t>Angled head for straight wrist positioning</a:t>
            </a:r>
          </a:p>
          <a:p>
            <a:pPr>
              <a:spcBef>
                <a:spcPts val="600"/>
              </a:spcBef>
            </a:pPr>
            <a:r>
              <a:rPr lang="en-US" dirty="0"/>
              <a:t>For copper and aluminum cable up to 1/0</a:t>
            </a:r>
          </a:p>
          <a:p>
            <a:pPr>
              <a:spcBef>
                <a:spcPts val="600"/>
              </a:spcBef>
            </a:pPr>
            <a:endParaRPr lang="en-US" dirty="0"/>
          </a:p>
        </p:txBody>
      </p:sp>
      <p:grpSp>
        <p:nvGrpSpPr>
          <p:cNvPr id="9" name="Group 8">
            <a:extLst>
              <a:ext uri="{FF2B5EF4-FFF2-40B4-BE49-F238E27FC236}">
                <a16:creationId xmlns:a16="http://schemas.microsoft.com/office/drawing/2014/main" id="{37BAC66B-CC7C-8842-8CAF-D4CDC8DC45CA}"/>
              </a:ext>
            </a:extLst>
          </p:cNvPr>
          <p:cNvGrpSpPr/>
          <p:nvPr/>
        </p:nvGrpSpPr>
        <p:grpSpPr>
          <a:xfrm>
            <a:off x="6922025" y="589793"/>
            <a:ext cx="4489423" cy="3137006"/>
            <a:chOff x="5662612" y="1146573"/>
            <a:chExt cx="3086101" cy="1889522"/>
          </a:xfrm>
        </p:grpSpPr>
        <p:pic>
          <p:nvPicPr>
            <p:cNvPr id="10" name="Picture 7" descr="2009-01-30_CA Cutfox 4">
              <a:extLst>
                <a:ext uri="{FF2B5EF4-FFF2-40B4-BE49-F238E27FC236}">
                  <a16:creationId xmlns:a16="http://schemas.microsoft.com/office/drawing/2014/main" id="{34F86FF9-3D98-FCD2-606D-074FC6E0BF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62612" y="1146573"/>
              <a:ext cx="3024188" cy="1889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9">
              <a:extLst>
                <a:ext uri="{FF2B5EF4-FFF2-40B4-BE49-F238E27FC236}">
                  <a16:creationId xmlns:a16="http://schemas.microsoft.com/office/drawing/2014/main" id="{D16FD157-18A1-9E00-82E7-2ADE64BC7012}"/>
                </a:ext>
              </a:extLst>
            </p:cNvPr>
            <p:cNvSpPr>
              <a:spLocks noChangeShapeType="1"/>
            </p:cNvSpPr>
            <p:nvPr/>
          </p:nvSpPr>
          <p:spPr bwMode="auto">
            <a:xfrm flipV="1">
              <a:off x="7451725" y="1275160"/>
              <a:ext cx="1296988" cy="432197"/>
            </a:xfrm>
            <a:prstGeom prst="line">
              <a:avLst/>
            </a:prstGeom>
            <a:noFill/>
            <a:ln w="57150">
              <a:solidFill>
                <a:srgbClr val="FF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2" name="Text Placeholder 5">
            <a:extLst>
              <a:ext uri="{FF2B5EF4-FFF2-40B4-BE49-F238E27FC236}">
                <a16:creationId xmlns:a16="http://schemas.microsoft.com/office/drawing/2014/main" id="{A6C3EEAF-D90C-1CBA-CBD3-197E56466E8F}"/>
              </a:ext>
            </a:extLst>
          </p:cNvPr>
          <p:cNvSpPr txBox="1">
            <a:spLocks/>
          </p:cNvSpPr>
          <p:nvPr/>
        </p:nvSpPr>
        <p:spPr>
          <a:xfrm>
            <a:off x="6693156" y="2123374"/>
            <a:ext cx="1484837" cy="44060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800" dirty="0">
                <a:solidFill>
                  <a:srgbClr val="00B050"/>
                </a:solidFill>
              </a:rPr>
              <a:t>NEW</a:t>
            </a:r>
          </a:p>
        </p:txBody>
      </p:sp>
      <p:grpSp>
        <p:nvGrpSpPr>
          <p:cNvPr id="13" name="Group 12">
            <a:extLst>
              <a:ext uri="{FF2B5EF4-FFF2-40B4-BE49-F238E27FC236}">
                <a16:creationId xmlns:a16="http://schemas.microsoft.com/office/drawing/2014/main" id="{450DCCCB-D2A5-5C0B-EDA6-FCB889BC67AE}"/>
              </a:ext>
            </a:extLst>
          </p:cNvPr>
          <p:cNvGrpSpPr/>
          <p:nvPr/>
        </p:nvGrpSpPr>
        <p:grpSpPr>
          <a:xfrm>
            <a:off x="7606050" y="3429000"/>
            <a:ext cx="3851353" cy="2609408"/>
            <a:chOff x="6372225" y="2840832"/>
            <a:chExt cx="2376489" cy="1496616"/>
          </a:xfrm>
        </p:grpSpPr>
        <p:pic>
          <p:nvPicPr>
            <p:cNvPr id="14" name="Picture 6" descr="2009-01-30_CA Cutfox 6">
              <a:extLst>
                <a:ext uri="{FF2B5EF4-FFF2-40B4-BE49-F238E27FC236}">
                  <a16:creationId xmlns:a16="http://schemas.microsoft.com/office/drawing/2014/main" id="{0474D190-F152-CEE7-1F7D-7E398FE8796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72225" y="2840832"/>
              <a:ext cx="2376488" cy="1496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reeform 8">
              <a:extLst>
                <a:ext uri="{FF2B5EF4-FFF2-40B4-BE49-F238E27FC236}">
                  <a16:creationId xmlns:a16="http://schemas.microsoft.com/office/drawing/2014/main" id="{0BF69AAC-7F7E-71C8-ACA2-147182F96C34}"/>
                </a:ext>
              </a:extLst>
            </p:cNvPr>
            <p:cNvSpPr>
              <a:spLocks/>
            </p:cNvSpPr>
            <p:nvPr/>
          </p:nvSpPr>
          <p:spPr bwMode="auto">
            <a:xfrm>
              <a:off x="7524751" y="3075385"/>
              <a:ext cx="1223963" cy="576263"/>
            </a:xfrm>
            <a:custGeom>
              <a:avLst/>
              <a:gdLst>
                <a:gd name="T0" fmla="*/ 0 w 771"/>
                <a:gd name="T1" fmla="*/ 768350 h 484"/>
                <a:gd name="T2" fmla="*/ 360363 w 771"/>
                <a:gd name="T3" fmla="*/ 120650 h 484"/>
                <a:gd name="T4" fmla="*/ 1223963 w 771"/>
                <a:gd name="T5" fmla="*/ 47625 h 484"/>
                <a:gd name="T6" fmla="*/ 0 60000 65536"/>
                <a:gd name="T7" fmla="*/ 0 60000 65536"/>
                <a:gd name="T8" fmla="*/ 0 60000 65536"/>
              </a:gdLst>
              <a:ahLst/>
              <a:cxnLst>
                <a:cxn ang="T6">
                  <a:pos x="T0" y="T1"/>
                </a:cxn>
                <a:cxn ang="T7">
                  <a:pos x="T2" y="T3"/>
                </a:cxn>
                <a:cxn ang="T8">
                  <a:pos x="T4" y="T5"/>
                </a:cxn>
              </a:cxnLst>
              <a:rect l="0" t="0" r="r" b="b"/>
              <a:pathLst>
                <a:path w="771" h="484">
                  <a:moveTo>
                    <a:pt x="0" y="484"/>
                  </a:moveTo>
                  <a:cubicBezTo>
                    <a:pt x="49" y="318"/>
                    <a:pt x="99" y="152"/>
                    <a:pt x="227" y="76"/>
                  </a:cubicBezTo>
                  <a:cubicBezTo>
                    <a:pt x="355" y="0"/>
                    <a:pt x="563" y="15"/>
                    <a:pt x="771" y="30"/>
                  </a:cubicBezTo>
                </a:path>
              </a:pathLst>
            </a:custGeom>
            <a:noFill/>
            <a:ln w="57150" cap="flat" cmpd="sng">
              <a:solidFill>
                <a:srgbClr val="FF33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16" name="Text Placeholder 5">
            <a:extLst>
              <a:ext uri="{FF2B5EF4-FFF2-40B4-BE49-F238E27FC236}">
                <a16:creationId xmlns:a16="http://schemas.microsoft.com/office/drawing/2014/main" id="{F896EC90-CBDA-012E-3D79-145DE2A75D50}"/>
              </a:ext>
            </a:extLst>
          </p:cNvPr>
          <p:cNvSpPr txBox="1">
            <a:spLocks/>
          </p:cNvSpPr>
          <p:nvPr/>
        </p:nvSpPr>
        <p:spPr>
          <a:xfrm>
            <a:off x="7862601" y="3903933"/>
            <a:ext cx="1129766" cy="440609"/>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2800" dirty="0">
                <a:solidFill>
                  <a:srgbClr val="FF0000"/>
                </a:solidFill>
              </a:rPr>
              <a:t>OLD</a:t>
            </a:r>
          </a:p>
        </p:txBody>
      </p:sp>
      <p:sp>
        <p:nvSpPr>
          <p:cNvPr id="4" name="Footer Placeholder 3">
            <a:extLst>
              <a:ext uri="{FF2B5EF4-FFF2-40B4-BE49-F238E27FC236}">
                <a16:creationId xmlns:a16="http://schemas.microsoft.com/office/drawing/2014/main" id="{8A1E51A5-B3D6-F2C1-CEAA-0BF2E9D3A844}"/>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256179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Ring Cable Cutt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8</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4">
            <a:extLst>
              <a:ext uri="{FF2B5EF4-FFF2-40B4-BE49-F238E27FC236}">
                <a16:creationId xmlns:a16="http://schemas.microsoft.com/office/drawing/2014/main" id="{2D9135A6-83AA-3996-E4AE-2DD3E2303E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178" t="8641" r="-11278" b="920"/>
          <a:stretch/>
        </p:blipFill>
        <p:spPr bwMode="auto">
          <a:xfrm>
            <a:off x="39961" y="2245494"/>
            <a:ext cx="2446633" cy="1846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a:extLst>
              <a:ext uri="{FF2B5EF4-FFF2-40B4-BE49-F238E27FC236}">
                <a16:creationId xmlns:a16="http://schemas.microsoft.com/office/drawing/2014/main" id="{448CA08E-E1AF-24BE-B687-CE6FE4DD5BC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997" t="12617" r="-5994" b="3047"/>
          <a:stretch/>
        </p:blipFill>
        <p:spPr bwMode="auto">
          <a:xfrm>
            <a:off x="2248027" y="2000250"/>
            <a:ext cx="2823578" cy="2130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0">
            <a:extLst>
              <a:ext uri="{FF2B5EF4-FFF2-40B4-BE49-F238E27FC236}">
                <a16:creationId xmlns:a16="http://schemas.microsoft.com/office/drawing/2014/main" id="{B212A2A9-4143-407D-FB83-D664F30824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313" t="9132" r="-11776" b="-29"/>
          <a:stretch/>
        </p:blipFill>
        <p:spPr bwMode="auto">
          <a:xfrm>
            <a:off x="4548303" y="1878684"/>
            <a:ext cx="2995220" cy="226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1">
            <a:extLst>
              <a:ext uri="{FF2B5EF4-FFF2-40B4-BE49-F238E27FC236}">
                <a16:creationId xmlns:a16="http://schemas.microsoft.com/office/drawing/2014/main" id="{1EADD547-E20E-204F-8F5F-41DDAE80CFC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037" t="12674" r="-5802" b="3099"/>
          <a:stretch/>
        </p:blipFill>
        <p:spPr bwMode="auto">
          <a:xfrm>
            <a:off x="6330526" y="1419225"/>
            <a:ext cx="3617475" cy="2729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605D04F5-FCF6-4126-7467-FDB3E0EF8C3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76526" y="1562866"/>
            <a:ext cx="2521382" cy="2641448"/>
          </a:xfrm>
          <a:prstGeom prst="rect">
            <a:avLst/>
          </a:prstGeom>
        </p:spPr>
      </p:pic>
      <p:sp>
        <p:nvSpPr>
          <p:cNvPr id="13" name="Text Placeholder 3">
            <a:extLst>
              <a:ext uri="{FF2B5EF4-FFF2-40B4-BE49-F238E27FC236}">
                <a16:creationId xmlns:a16="http://schemas.microsoft.com/office/drawing/2014/main" id="{72856362-60D9-C8DC-5F46-539E9008377C}"/>
              </a:ext>
            </a:extLst>
          </p:cNvPr>
          <p:cNvSpPr txBox="1">
            <a:spLocks/>
          </p:cNvSpPr>
          <p:nvPr/>
        </p:nvSpPr>
        <p:spPr>
          <a:xfrm>
            <a:off x="550873" y="4464602"/>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45</a:t>
            </a:r>
          </a:p>
          <a:p>
            <a:pPr marL="0" indent="0" algn="ctr">
              <a:buNone/>
            </a:pPr>
            <a:r>
              <a:rPr lang="en-US" dirty="0"/>
              <a:t>1212132</a:t>
            </a:r>
          </a:p>
          <a:p>
            <a:pPr marL="0" indent="0" algn="ctr">
              <a:buNone/>
            </a:pPr>
            <a:r>
              <a:rPr lang="en-US" sz="1400" dirty="0"/>
              <a:t>Up to 45 mm         (1.77”)</a:t>
            </a:r>
          </a:p>
          <a:p>
            <a:pPr marL="0" indent="0" algn="ctr">
              <a:buNone/>
            </a:pPr>
            <a:endParaRPr lang="en-US" dirty="0"/>
          </a:p>
        </p:txBody>
      </p:sp>
      <p:sp>
        <p:nvSpPr>
          <p:cNvPr id="14" name="Text Placeholder 5">
            <a:extLst>
              <a:ext uri="{FF2B5EF4-FFF2-40B4-BE49-F238E27FC236}">
                <a16:creationId xmlns:a16="http://schemas.microsoft.com/office/drawing/2014/main" id="{AEB961B7-3900-EA33-7260-03760306D821}"/>
              </a:ext>
            </a:extLst>
          </p:cNvPr>
          <p:cNvSpPr txBox="1">
            <a:spLocks/>
          </p:cNvSpPr>
          <p:nvPr/>
        </p:nvSpPr>
        <p:spPr>
          <a:xfrm>
            <a:off x="3009070" y="4454901"/>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52</a:t>
            </a:r>
          </a:p>
          <a:p>
            <a:pPr marL="0" indent="0" algn="ctr">
              <a:buNone/>
            </a:pPr>
            <a:r>
              <a:rPr lang="en-US" dirty="0"/>
              <a:t>1212133</a:t>
            </a:r>
          </a:p>
          <a:p>
            <a:pPr marL="0" indent="0" algn="ctr">
              <a:buNone/>
            </a:pPr>
            <a:r>
              <a:rPr lang="en-US" sz="1400" dirty="0"/>
              <a:t>Up to 52 mm          (2.05”)</a:t>
            </a:r>
          </a:p>
          <a:p>
            <a:pPr marL="0" indent="0" algn="ctr">
              <a:buNone/>
            </a:pPr>
            <a:endParaRPr lang="en-US" dirty="0"/>
          </a:p>
        </p:txBody>
      </p:sp>
      <p:sp>
        <p:nvSpPr>
          <p:cNvPr id="15" name="Text Placeholder 7">
            <a:extLst>
              <a:ext uri="{FF2B5EF4-FFF2-40B4-BE49-F238E27FC236}">
                <a16:creationId xmlns:a16="http://schemas.microsoft.com/office/drawing/2014/main" id="{9E82084D-2924-781E-27AB-BB1ECF40BACB}"/>
              </a:ext>
            </a:extLst>
          </p:cNvPr>
          <p:cNvSpPr txBox="1">
            <a:spLocks/>
          </p:cNvSpPr>
          <p:nvPr/>
        </p:nvSpPr>
        <p:spPr>
          <a:xfrm>
            <a:off x="5206116" y="4452724"/>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62</a:t>
            </a:r>
          </a:p>
          <a:p>
            <a:pPr marL="0" indent="0" algn="ctr">
              <a:buNone/>
            </a:pPr>
            <a:r>
              <a:rPr lang="en-US" dirty="0"/>
              <a:t>1212134</a:t>
            </a:r>
          </a:p>
          <a:p>
            <a:pPr marL="0" indent="0" algn="ctr">
              <a:buNone/>
            </a:pPr>
            <a:r>
              <a:rPr lang="en-US" sz="1400" dirty="0"/>
              <a:t>Up to 62 mm              (2.44”)</a:t>
            </a:r>
          </a:p>
          <a:p>
            <a:pPr marL="0" indent="0" algn="ctr">
              <a:buNone/>
            </a:pPr>
            <a:endParaRPr lang="en-US" dirty="0"/>
          </a:p>
        </p:txBody>
      </p:sp>
      <p:sp>
        <p:nvSpPr>
          <p:cNvPr id="16" name="Text Placeholder 9">
            <a:extLst>
              <a:ext uri="{FF2B5EF4-FFF2-40B4-BE49-F238E27FC236}">
                <a16:creationId xmlns:a16="http://schemas.microsoft.com/office/drawing/2014/main" id="{F947F062-7655-1B38-7DE8-2D79AED9D961}"/>
              </a:ext>
            </a:extLst>
          </p:cNvPr>
          <p:cNvSpPr txBox="1">
            <a:spLocks/>
          </p:cNvSpPr>
          <p:nvPr/>
        </p:nvSpPr>
        <p:spPr>
          <a:xfrm>
            <a:off x="7381568" y="4450854"/>
            <a:ext cx="1908174"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100</a:t>
            </a:r>
          </a:p>
          <a:p>
            <a:pPr marL="0" indent="0" algn="ctr">
              <a:buNone/>
            </a:pPr>
            <a:r>
              <a:rPr lang="en-US" dirty="0"/>
              <a:t>1212135</a:t>
            </a:r>
          </a:p>
          <a:p>
            <a:pPr marL="0" indent="0" algn="ctr">
              <a:buNone/>
            </a:pPr>
            <a:r>
              <a:rPr lang="en-US" sz="1400" dirty="0"/>
              <a:t>Up to 100 mm           (3.94”)</a:t>
            </a:r>
          </a:p>
          <a:p>
            <a:pPr marL="0" indent="0" algn="ctr">
              <a:buNone/>
            </a:pPr>
            <a:endParaRPr lang="en-US" dirty="0"/>
          </a:p>
        </p:txBody>
      </p:sp>
      <p:sp>
        <p:nvSpPr>
          <p:cNvPr id="17" name="Text Placeholder 9">
            <a:extLst>
              <a:ext uri="{FF2B5EF4-FFF2-40B4-BE49-F238E27FC236}">
                <a16:creationId xmlns:a16="http://schemas.microsoft.com/office/drawing/2014/main" id="{CE9A3E0E-DD7A-DA3C-2A59-62A1335C183E}"/>
              </a:ext>
            </a:extLst>
          </p:cNvPr>
          <p:cNvSpPr txBox="1">
            <a:spLocks/>
          </p:cNvSpPr>
          <p:nvPr/>
        </p:nvSpPr>
        <p:spPr>
          <a:xfrm>
            <a:off x="9557020" y="4449254"/>
            <a:ext cx="2323793" cy="1285323"/>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rgbClr val="0099A1"/>
              </a:buClr>
              <a:buFont typeface="Wingdings" panose="05000000000000000000" pitchFamily="2" charset="2"/>
              <a:buNone/>
            </a:pPr>
            <a:r>
              <a:rPr lang="en-US" dirty="0">
                <a:solidFill>
                  <a:srgbClr val="000000"/>
                </a:solidFill>
                <a:latin typeface="Arial"/>
              </a:rPr>
              <a:t>CUTFOX 50 STEEL</a:t>
            </a:r>
          </a:p>
          <a:p>
            <a:pPr marL="0" indent="0" algn="ctr">
              <a:buClr>
                <a:srgbClr val="0099A1"/>
              </a:buClr>
              <a:buFont typeface="Wingdings" panose="05000000000000000000" pitchFamily="2" charset="2"/>
              <a:buNone/>
            </a:pPr>
            <a:r>
              <a:rPr lang="en-US" dirty="0">
                <a:solidFill>
                  <a:srgbClr val="000000"/>
                </a:solidFill>
                <a:latin typeface="Arial"/>
              </a:rPr>
              <a:t>1212526</a:t>
            </a:r>
          </a:p>
          <a:p>
            <a:pPr marL="0" indent="0" algn="ctr">
              <a:buClr>
                <a:srgbClr val="0099A1"/>
              </a:buClr>
              <a:buFont typeface="Wingdings" panose="05000000000000000000" pitchFamily="2" charset="2"/>
              <a:buNone/>
            </a:pPr>
            <a:r>
              <a:rPr lang="en-US" sz="1400" dirty="0">
                <a:solidFill>
                  <a:srgbClr val="000000"/>
                </a:solidFill>
                <a:latin typeface="Arial"/>
              </a:rPr>
              <a:t>Up to 50 mm             (3.94”)</a:t>
            </a:r>
          </a:p>
          <a:p>
            <a:pPr marL="0" indent="0" algn="ctr">
              <a:buClr>
                <a:srgbClr val="0099A1"/>
              </a:buClr>
              <a:buFont typeface="Wingdings" panose="05000000000000000000" pitchFamily="2" charset="2"/>
              <a:buNone/>
            </a:pPr>
            <a:endParaRPr lang="en-US" dirty="0">
              <a:solidFill>
                <a:srgbClr val="000000"/>
              </a:solidFill>
              <a:latin typeface="Arial"/>
            </a:endParaRPr>
          </a:p>
        </p:txBody>
      </p:sp>
      <p:sp>
        <p:nvSpPr>
          <p:cNvPr id="4" name="Footer Placeholder 3">
            <a:extLst>
              <a:ext uri="{FF2B5EF4-FFF2-40B4-BE49-F238E27FC236}">
                <a16:creationId xmlns:a16="http://schemas.microsoft.com/office/drawing/2014/main" id="{FFAEDAA5-BA21-EB50-E154-A7C6631D42E4}"/>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66538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858541-1298-4CF8-B197-40925160CBFE}"/>
              </a:ext>
            </a:extLst>
          </p:cNvPr>
          <p:cNvSpPr>
            <a:spLocks noGrp="1"/>
          </p:cNvSpPr>
          <p:nvPr>
            <p:ph type="body" sz="quarter" idx="16"/>
          </p:nvPr>
        </p:nvSpPr>
        <p:spPr/>
        <p:txBody>
          <a:bodyPr/>
          <a:lstStyle/>
          <a:p>
            <a:r>
              <a:rPr lang="en-GB" dirty="0"/>
              <a:t>Hand Tools</a:t>
            </a:r>
          </a:p>
        </p:txBody>
      </p:sp>
      <p:sp>
        <p:nvSpPr>
          <p:cNvPr id="3" name="Titel 2">
            <a:extLst>
              <a:ext uri="{FF2B5EF4-FFF2-40B4-BE49-F238E27FC236}">
                <a16:creationId xmlns:a16="http://schemas.microsoft.com/office/drawing/2014/main" id="{B00AA6BA-2286-4DCB-BF21-26F60EF62B9B}"/>
              </a:ext>
            </a:extLst>
          </p:cNvPr>
          <p:cNvSpPr>
            <a:spLocks noGrp="1"/>
          </p:cNvSpPr>
          <p:nvPr>
            <p:ph type="title"/>
          </p:nvPr>
        </p:nvSpPr>
        <p:spPr/>
        <p:txBody>
          <a:bodyPr/>
          <a:lstStyle/>
          <a:p>
            <a:r>
              <a:rPr lang="en-GB" dirty="0"/>
              <a:t>CUTFOX Front VDE Cable Cutters</a:t>
            </a:r>
          </a:p>
        </p:txBody>
      </p:sp>
      <p:sp>
        <p:nvSpPr>
          <p:cNvPr id="7" name="Foliennummernplatzhalter 6">
            <a:extLst>
              <a:ext uri="{FF2B5EF4-FFF2-40B4-BE49-F238E27FC236}">
                <a16:creationId xmlns:a16="http://schemas.microsoft.com/office/drawing/2014/main" id="{95B27CED-F7F4-436E-9FE2-7E18AF4D3DB6}"/>
              </a:ext>
            </a:extLst>
          </p:cNvPr>
          <p:cNvSpPr>
            <a:spLocks noGrp="1"/>
          </p:cNvSpPr>
          <p:nvPr>
            <p:ph type="sldNum" sz="quarter" idx="18"/>
          </p:nvPr>
        </p:nvSpPr>
        <p:spPr/>
        <p:txBody>
          <a:bodyPr/>
          <a:lstStyle/>
          <a:p>
            <a:fld id="{B227C86F-CC2D-492F-A88C-C748186E73FB}" type="slidenum">
              <a:rPr lang="en-GB" smtClean="0"/>
              <a:pPr/>
              <a:t>9</a:t>
            </a:fld>
            <a:endParaRPr lang="en-GB" dirty="0"/>
          </a:p>
        </p:txBody>
      </p:sp>
      <p:pic>
        <p:nvPicPr>
          <p:cNvPr id="8" name="Picture 7" descr="A picture containing text, clipart&#10;&#10;Description automatically generated">
            <a:extLst>
              <a:ext uri="{FF2B5EF4-FFF2-40B4-BE49-F238E27FC236}">
                <a16:creationId xmlns:a16="http://schemas.microsoft.com/office/drawing/2014/main" id="{2C26B08B-AB74-A9BE-939A-D84742CB5E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4975" y="5863567"/>
            <a:ext cx="2100228" cy="673150"/>
          </a:xfrm>
          <a:prstGeom prst="rect">
            <a:avLst/>
          </a:prstGeom>
        </p:spPr>
      </p:pic>
      <p:pic>
        <p:nvPicPr>
          <p:cNvPr id="6" name="Picture 6">
            <a:extLst>
              <a:ext uri="{FF2B5EF4-FFF2-40B4-BE49-F238E27FC236}">
                <a16:creationId xmlns:a16="http://schemas.microsoft.com/office/drawing/2014/main" id="{4E07FD0F-A464-1DEA-F092-3B877A7F23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010" t="12604" r="-6121" b="3144"/>
          <a:stretch/>
        </p:blipFill>
        <p:spPr bwMode="auto">
          <a:xfrm>
            <a:off x="16664" y="1835422"/>
            <a:ext cx="3137792" cy="2367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a:extLst>
              <a:ext uri="{FF2B5EF4-FFF2-40B4-BE49-F238E27FC236}">
                <a16:creationId xmlns:a16="http://schemas.microsoft.com/office/drawing/2014/main" id="{B81FFC78-EE09-1F54-FC9A-F4C56855E6E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4258" t="9097" r="-11344" b="359"/>
          <a:stretch/>
        </p:blipFill>
        <p:spPr bwMode="auto">
          <a:xfrm>
            <a:off x="3154456" y="1674210"/>
            <a:ext cx="3351420" cy="2529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8BFE417F-397F-6850-F388-30FD6A5C05C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82564" y="1296406"/>
            <a:ext cx="2808417" cy="2942151"/>
          </a:xfrm>
          <a:prstGeom prst="rect">
            <a:avLst/>
          </a:prstGeom>
        </p:spPr>
      </p:pic>
      <p:pic>
        <p:nvPicPr>
          <p:cNvPr id="11" name="Picture 10">
            <a:extLst>
              <a:ext uri="{FF2B5EF4-FFF2-40B4-BE49-F238E27FC236}">
                <a16:creationId xmlns:a16="http://schemas.microsoft.com/office/drawing/2014/main" id="{66CDF3CC-4CC3-5BA4-B263-EEDAA3BDD4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71725" y="1434287"/>
            <a:ext cx="2643197" cy="2769064"/>
          </a:xfrm>
          <a:prstGeom prst="rect">
            <a:avLst/>
          </a:prstGeom>
        </p:spPr>
      </p:pic>
      <p:sp>
        <p:nvSpPr>
          <p:cNvPr id="12" name="Text Placeholder 5">
            <a:extLst>
              <a:ext uri="{FF2B5EF4-FFF2-40B4-BE49-F238E27FC236}">
                <a16:creationId xmlns:a16="http://schemas.microsoft.com/office/drawing/2014/main" id="{86361650-AA03-F71E-5737-0847D7226991}"/>
              </a:ext>
            </a:extLst>
          </p:cNvPr>
          <p:cNvSpPr txBox="1">
            <a:spLocks/>
          </p:cNvSpPr>
          <p:nvPr/>
        </p:nvSpPr>
        <p:spPr>
          <a:xfrm>
            <a:off x="625105" y="4520840"/>
            <a:ext cx="2280019" cy="1279885"/>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16 VDE</a:t>
            </a:r>
          </a:p>
          <a:p>
            <a:pPr marL="0" indent="0" algn="ctr">
              <a:buNone/>
            </a:pPr>
            <a:r>
              <a:rPr lang="en-US" dirty="0"/>
              <a:t>1212126</a:t>
            </a:r>
          </a:p>
          <a:p>
            <a:pPr marL="0" indent="0" algn="ctr">
              <a:buNone/>
            </a:pPr>
            <a:r>
              <a:rPr lang="en-US" sz="1400" dirty="0"/>
              <a:t>Up to 16 mm</a:t>
            </a:r>
            <a:endParaRPr lang="en-US" dirty="0"/>
          </a:p>
        </p:txBody>
      </p:sp>
      <p:sp>
        <p:nvSpPr>
          <p:cNvPr id="13" name="Text Placeholder 7">
            <a:extLst>
              <a:ext uri="{FF2B5EF4-FFF2-40B4-BE49-F238E27FC236}">
                <a16:creationId xmlns:a16="http://schemas.microsoft.com/office/drawing/2014/main" id="{22A58B93-71BF-ABD0-7124-3B60596D89D8}"/>
              </a:ext>
            </a:extLst>
          </p:cNvPr>
          <p:cNvSpPr txBox="1">
            <a:spLocks/>
          </p:cNvSpPr>
          <p:nvPr/>
        </p:nvSpPr>
        <p:spPr>
          <a:xfrm>
            <a:off x="3712770" y="4501829"/>
            <a:ext cx="2478480" cy="1279886"/>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25 VDE</a:t>
            </a:r>
          </a:p>
          <a:p>
            <a:pPr marL="0" indent="0" algn="ctr">
              <a:buNone/>
            </a:pPr>
            <a:r>
              <a:rPr lang="en-US" dirty="0"/>
              <a:t>1212127</a:t>
            </a:r>
          </a:p>
          <a:p>
            <a:pPr marL="0" indent="0" algn="ctr">
              <a:buNone/>
            </a:pPr>
            <a:r>
              <a:rPr lang="en-US" sz="1400" dirty="0"/>
              <a:t>Up to 25 mm</a:t>
            </a:r>
            <a:endParaRPr lang="en-US" dirty="0"/>
          </a:p>
        </p:txBody>
      </p:sp>
      <p:sp>
        <p:nvSpPr>
          <p:cNvPr id="14" name="Text Placeholder 7">
            <a:extLst>
              <a:ext uri="{FF2B5EF4-FFF2-40B4-BE49-F238E27FC236}">
                <a16:creationId xmlns:a16="http://schemas.microsoft.com/office/drawing/2014/main" id="{6428E5E1-C825-199F-AC5C-CFFCE4C62190}"/>
              </a:ext>
            </a:extLst>
          </p:cNvPr>
          <p:cNvSpPr txBox="1">
            <a:spLocks/>
          </p:cNvSpPr>
          <p:nvPr/>
        </p:nvSpPr>
        <p:spPr>
          <a:xfrm>
            <a:off x="6505876" y="4478277"/>
            <a:ext cx="2280018" cy="127988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LB VDE</a:t>
            </a:r>
          </a:p>
          <a:p>
            <a:pPr marL="0" indent="0" algn="ctr">
              <a:buNone/>
            </a:pPr>
            <a:r>
              <a:rPr lang="en-US" dirty="0"/>
              <a:t>1212527</a:t>
            </a:r>
          </a:p>
          <a:p>
            <a:pPr marL="0" indent="0" algn="ctr">
              <a:buNone/>
            </a:pPr>
            <a:r>
              <a:rPr lang="en-US" sz="1400" dirty="0"/>
              <a:t>Up to 50 mm</a:t>
            </a:r>
            <a:endParaRPr lang="en-US" dirty="0"/>
          </a:p>
        </p:txBody>
      </p:sp>
      <p:sp>
        <p:nvSpPr>
          <p:cNvPr id="15" name="Text Placeholder 7">
            <a:extLst>
              <a:ext uri="{FF2B5EF4-FFF2-40B4-BE49-F238E27FC236}">
                <a16:creationId xmlns:a16="http://schemas.microsoft.com/office/drawing/2014/main" id="{798BA9CE-DBDC-861F-40D3-F10A7043DC24}"/>
              </a:ext>
            </a:extLst>
          </p:cNvPr>
          <p:cNvSpPr txBox="1">
            <a:spLocks/>
          </p:cNvSpPr>
          <p:nvPr/>
        </p:nvSpPr>
        <p:spPr>
          <a:xfrm>
            <a:off x="9298981" y="4444678"/>
            <a:ext cx="2478479" cy="1203647"/>
          </a:xfrm>
          <a:prstGeom prst="rect">
            <a:avLst/>
          </a:prstGeom>
        </p:spPr>
        <p:txBody>
          <a:bodyPr/>
          <a:lstStyle>
            <a:lvl1pPr marL="270009"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1pPr>
            <a:lvl2pPr marL="720024"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2pPr>
            <a:lvl3pPr marL="1080036"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3pPr>
            <a:lvl4pPr marL="1440048"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4pPr>
            <a:lvl5pPr marL="1800060" indent="-270009" algn="l" defTabSz="914430" rtl="0" eaLnBrk="1" latinLnBrk="0" hangingPunct="1">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5pPr>
            <a:lvl6pPr marL="2160072"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6pPr>
            <a:lvl7pPr marL="2520084" indent="-270009" algn="l" defTabSz="914430" rtl="0" eaLnBrk="1" latinLnBrk="0" hangingPunct="1">
              <a:lnSpc>
                <a:spcPct val="100000"/>
              </a:lnSpc>
              <a:spcBef>
                <a:spcPts val="1000"/>
              </a:spcBef>
              <a:spcAft>
                <a:spcPts val="0"/>
              </a:spcAft>
              <a:buClr>
                <a:schemeClr val="accent2"/>
              </a:buClr>
              <a:buFont typeface="Wingdings" panose="05000000000000000000" pitchFamily="2" charset="2"/>
              <a:buChar char="§"/>
              <a:defRPr sz="1800" kern="1200">
                <a:solidFill>
                  <a:schemeClr val="tx1"/>
                </a:solidFill>
                <a:latin typeface="+mn-lt"/>
                <a:ea typeface="+mn-ea"/>
                <a:cs typeface="+mn-cs"/>
              </a:defRPr>
            </a:lvl7pPr>
            <a:lvl8pPr marL="3429114"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30" indent="-228607"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dirty="0"/>
              <a:t>CUTFOX – SE VDE</a:t>
            </a:r>
          </a:p>
          <a:p>
            <a:pPr marL="0" indent="0" algn="ctr">
              <a:buNone/>
            </a:pPr>
            <a:r>
              <a:rPr lang="en-US" dirty="0"/>
              <a:t>1212833</a:t>
            </a:r>
          </a:p>
          <a:p>
            <a:pPr marL="0" indent="0" algn="ctr">
              <a:buNone/>
            </a:pPr>
            <a:r>
              <a:rPr lang="en-US" sz="1400" dirty="0"/>
              <a:t>Up to 180 mm</a:t>
            </a:r>
            <a:endParaRPr lang="en-US" dirty="0"/>
          </a:p>
        </p:txBody>
      </p:sp>
      <p:sp>
        <p:nvSpPr>
          <p:cNvPr id="4" name="Footer Placeholder 3">
            <a:extLst>
              <a:ext uri="{FF2B5EF4-FFF2-40B4-BE49-F238E27FC236}">
                <a16:creationId xmlns:a16="http://schemas.microsoft.com/office/drawing/2014/main" id="{BAB870B2-74F3-694B-3C57-BDE79AC055C9}"/>
              </a:ext>
            </a:extLst>
          </p:cNvPr>
          <p:cNvSpPr>
            <a:spLocks noGrp="1"/>
          </p:cNvSpPr>
          <p:nvPr>
            <p:ph type="ftr" sz="quarter" idx="17"/>
          </p:nvPr>
        </p:nvSpPr>
        <p:spPr/>
        <p:txBody>
          <a:bodyPr/>
          <a:lstStyle/>
          <a:p>
            <a:r>
              <a:rPr lang="en-US"/>
              <a:t>Updated January 2023</a:t>
            </a:r>
            <a:endParaRPr lang="de-DE" dirty="0"/>
          </a:p>
        </p:txBody>
      </p:sp>
    </p:spTree>
    <p:extLst>
      <p:ext uri="{BB962C8B-B14F-4D97-AF65-F5344CB8AC3E}">
        <p14:creationId xmlns:p14="http://schemas.microsoft.com/office/powerpoint/2010/main" val="82337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xC Master">
  <a:themeElements>
    <a:clrScheme name="New Corporate Colors">
      <a:dk1>
        <a:srgbClr val="000000"/>
      </a:dk1>
      <a:lt1>
        <a:srgbClr val="FFFFFF"/>
      </a:lt1>
      <a:dk2>
        <a:srgbClr val="000000"/>
      </a:dk2>
      <a:lt2>
        <a:srgbClr val="FFFFFF"/>
      </a:lt2>
      <a:accent1>
        <a:srgbClr val="A2A7A9"/>
      </a:accent1>
      <a:accent2>
        <a:srgbClr val="0098A1"/>
      </a:accent2>
      <a:accent3>
        <a:srgbClr val="96BE0D"/>
      </a:accent3>
      <a:accent4>
        <a:srgbClr val="000000"/>
      </a:accent4>
      <a:accent5>
        <a:srgbClr val="666A6E"/>
      </a:accent5>
      <a:accent6>
        <a:srgbClr val="005F66"/>
      </a:accent6>
      <a:hlink>
        <a:srgbClr val="0098A1"/>
      </a:hlink>
      <a:folHlink>
        <a:srgbClr val="005F66"/>
      </a:folHlink>
    </a:clrScheme>
    <a:fontScheme name="PxC Hausschrift">
      <a:majorFont>
        <a:latin typeface="IBM Plex Sans"/>
        <a:ea typeface=""/>
        <a:cs typeface=""/>
      </a:majorFont>
      <a:minorFont>
        <a:latin typeface="IBM Plex Sans Tex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800" dirty="0" smtClean="0"/>
        </a:defPPr>
      </a:lstStyle>
    </a:spDef>
    <a:lnDef>
      <a:spPr bwMode="auto">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ln>
          <a:noFill/>
        </a:ln>
      </a:spPr>
      <a:bodyPr wrap="square" lIns="0" tIns="0" rIns="0" bIns="0" rtlCol="0">
        <a:noAutofit/>
      </a:bodyPr>
      <a:lstStyle>
        <a:defPPr algn="l">
          <a:defRPr sz="1800" dirty="0" smtClean="0"/>
        </a:defPPr>
      </a:lstStyle>
    </a:txDef>
  </a:objectDefaults>
  <a:extraClrSchemeLst/>
  <a:extLst>
    <a:ext uri="{05A4C25C-085E-4340-85A3-A5531E510DB2}">
      <thm15:themeFamily xmlns:thm15="http://schemas.microsoft.com/office/thememl/2012/main" name="Präsentation2" id="{8878668C-181D-4A25-B105-0DAACCBE71E5}" vid="{944107D4-B56D-41A2-AA1E-7818CAB6AB10}"/>
    </a:ext>
  </a:extLst>
</a:theme>
</file>

<file path=ppt/theme/theme2.xml><?xml version="1.0" encoding="utf-8"?>
<a:theme xmlns:a="http://schemas.openxmlformats.org/drawingml/2006/main" name="Larissa">
  <a:themeElements>
    <a:clrScheme name="PhönixContact">
      <a:dk1>
        <a:srgbClr val="000000"/>
      </a:dk1>
      <a:lt1>
        <a:srgbClr val="FFFFFF"/>
      </a:lt1>
      <a:dk2>
        <a:srgbClr val="000000"/>
      </a:dk2>
      <a:lt2>
        <a:srgbClr val="FFFFFF"/>
      </a:lt2>
      <a:accent1>
        <a:srgbClr val="AEC8D2"/>
      </a:accent1>
      <a:accent2>
        <a:srgbClr val="0099A1"/>
      </a:accent2>
      <a:accent3>
        <a:srgbClr val="96BE0D"/>
      </a:accent3>
      <a:accent4>
        <a:srgbClr val="000000"/>
      </a:accent4>
      <a:accent5>
        <a:srgbClr val="005AC8"/>
      </a:accent5>
      <a:accent6>
        <a:srgbClr val="D200D2"/>
      </a:accent6>
      <a:hlink>
        <a:srgbClr val="96BE0D"/>
      </a:hlink>
      <a:folHlink>
        <a:srgbClr val="0099A1"/>
      </a:folHlink>
    </a:clrScheme>
    <a:fontScheme name="PhoenixContac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PhönixContact">
      <a:dk1>
        <a:srgbClr val="000000"/>
      </a:dk1>
      <a:lt1>
        <a:srgbClr val="FFFFFF"/>
      </a:lt1>
      <a:dk2>
        <a:srgbClr val="000000"/>
      </a:dk2>
      <a:lt2>
        <a:srgbClr val="FFFFFF"/>
      </a:lt2>
      <a:accent1>
        <a:srgbClr val="AEC8D2"/>
      </a:accent1>
      <a:accent2>
        <a:srgbClr val="0099A1"/>
      </a:accent2>
      <a:accent3>
        <a:srgbClr val="96BE0D"/>
      </a:accent3>
      <a:accent4>
        <a:srgbClr val="000000"/>
      </a:accent4>
      <a:accent5>
        <a:srgbClr val="005AC8"/>
      </a:accent5>
      <a:accent6>
        <a:srgbClr val="D200D2"/>
      </a:accent6>
      <a:hlink>
        <a:srgbClr val="96BE0D"/>
      </a:hlink>
      <a:folHlink>
        <a:srgbClr val="0099A1"/>
      </a:folHlink>
    </a:clrScheme>
    <a:fontScheme name="PhoenixContac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0CC0A627E987E459E79A62E6942E5A0" ma:contentTypeVersion="14" ma:contentTypeDescription="Ein neues Dokument erstellen." ma:contentTypeScope="" ma:versionID="b4c9f795aef5e2f68c163cddf5f5a56c">
  <xsd:schema xmlns:xsd="http://www.w3.org/2001/XMLSchema" xmlns:xs="http://www.w3.org/2001/XMLSchema" xmlns:p="http://schemas.microsoft.com/office/2006/metadata/properties" xmlns:ns2="87e7ebae-2255-4697-b50e-9942eb0178f0" xmlns:ns3="e6173bfa-5183-41ec-94a9-6a6f390158be" targetNamespace="http://schemas.microsoft.com/office/2006/metadata/properties" ma:root="true" ma:fieldsID="bb7038419537f52c126da1499ccddeb3" ns2:_="" ns3:_="">
    <xsd:import namespace="87e7ebae-2255-4697-b50e-9942eb0178f0"/>
    <xsd:import namespace="e6173bfa-5183-41ec-94a9-6a6f390158b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e7ebae-2255-4697-b50e-9942eb0178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1edd3bbb-ac52-4e51-b71c-5248c8051ff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173bfa-5183-41ec-94a9-6a6f390158be"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8" nillable="true" ma:displayName="Taxonomy Catch All Column" ma:hidden="true" ma:list="{29fd64bd-0cbc-4e9f-9d77-8b41bb98a19b}" ma:internalName="TaxCatchAll" ma:showField="CatchAllData" ma:web="e6173bfa-5183-41ec-94a9-6a6f390158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7e7ebae-2255-4697-b50e-9942eb0178f0">
      <Terms xmlns="http://schemas.microsoft.com/office/infopath/2007/PartnerControls"/>
    </lcf76f155ced4ddcb4097134ff3c332f>
    <TaxCatchAll xmlns="e6173bfa-5183-41ec-94a9-6a6f390158b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DBFA23-1AD5-4829-828E-14EBD267F9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e7ebae-2255-4697-b50e-9942eb0178f0"/>
    <ds:schemaRef ds:uri="e6173bfa-5183-41ec-94a9-6a6f390158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E866BB-D723-458E-8FEC-814FCFAB3BE5}">
  <ds:schemaRefs>
    <ds:schemaRef ds:uri="http://schemas.microsoft.com/office/2006/documentManagement/types"/>
    <ds:schemaRef ds:uri="http://purl.org/dc/elements/1.1/"/>
    <ds:schemaRef ds:uri="http://schemas.microsoft.com/office/2006/metadata/properties"/>
    <ds:schemaRef ds:uri="87e7ebae-2255-4697-b50e-9942eb0178f0"/>
    <ds:schemaRef ds:uri="http://schemas.microsoft.com/office/infopath/2007/PartnerControls"/>
    <ds:schemaRef ds:uri="http://schemas.openxmlformats.org/package/2006/metadata/core-properties"/>
    <ds:schemaRef ds:uri="http://purl.org/dc/terms/"/>
    <ds:schemaRef ds:uri="e6173bfa-5183-41ec-94a9-6a6f390158be"/>
    <ds:schemaRef ds:uri="http://www.w3.org/XML/1998/namespace"/>
    <ds:schemaRef ds:uri="http://purl.org/dc/dcmitype/"/>
  </ds:schemaRefs>
</ds:datastoreItem>
</file>

<file path=customXml/itemProps3.xml><?xml version="1.0" encoding="utf-8"?>
<ds:datastoreItem xmlns:ds="http://schemas.openxmlformats.org/officeDocument/2006/customXml" ds:itemID="{92407D3D-424A-4B9B-B80D-2969AEF8E00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hoenixContact_Master_2023-100_Years_en</Template>
  <TotalTime>2175</TotalTime>
  <Words>3263</Words>
  <Application>Microsoft Office PowerPoint</Application>
  <PresentationFormat>Widescreen</PresentationFormat>
  <Paragraphs>725</Paragraphs>
  <Slides>5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59" baseType="lpstr">
      <vt:lpstr>Arial</vt:lpstr>
      <vt:lpstr>IBM Plex Sans</vt:lpstr>
      <vt:lpstr>IBM Plex Sans Text</vt:lpstr>
      <vt:lpstr>Wingdings</vt:lpstr>
      <vt:lpstr>PxC Master</vt:lpstr>
      <vt:lpstr>think-cell Folie</vt:lpstr>
      <vt:lpstr>TOOL fox: The right tool for every application</vt:lpstr>
      <vt:lpstr>Introductions</vt:lpstr>
      <vt:lpstr>PowerPoint Presentation</vt:lpstr>
      <vt:lpstr>CUTFOX Cutting Tools</vt:lpstr>
      <vt:lpstr>CUTFOX Electrician Scissors</vt:lpstr>
      <vt:lpstr>CUTFOX Front Cable Cutters</vt:lpstr>
      <vt:lpstr>CUTFOX 18 Features and Benefits</vt:lpstr>
      <vt:lpstr>CUTFOX Ring Cable Cutters</vt:lpstr>
      <vt:lpstr>CUTFOX Front VDE Cable Cutters</vt:lpstr>
      <vt:lpstr>CUTFOX Diagonal VDE Cable Cutters</vt:lpstr>
      <vt:lpstr>CUTFOX Special Purpose Cutting Tools</vt:lpstr>
      <vt:lpstr>CUTFOX Bench Top Wire Duct and DIN Rail Cutters</vt:lpstr>
      <vt:lpstr>UNIFOX Contact Removal and Assembly and Rivet Setting Tools</vt:lpstr>
      <vt:lpstr>UNIFOX Wire Tie Tools</vt:lpstr>
      <vt:lpstr>UNIFOX VDE Combination Pliers and Pipe Wrenches </vt:lpstr>
      <vt:lpstr>UNIFOX VDE &amp; Round Nose and Flat Pliers</vt:lpstr>
      <vt:lpstr>WIREFOX Wire Insulation Stripping Tools</vt:lpstr>
      <vt:lpstr>WIREFOX Features and Benefits</vt:lpstr>
      <vt:lpstr>WIREFOX Competitor Comparison</vt:lpstr>
      <vt:lpstr>WIREFOX Special Insulation Stripping Tools</vt:lpstr>
      <vt:lpstr>WIREFOX Multiconductor and Large Diameter Insulation    Stripping Tools</vt:lpstr>
      <vt:lpstr>WIREFOX D40 Features and Benefits</vt:lpstr>
      <vt:lpstr>CRIMPFOX Features and Benefits</vt:lpstr>
      <vt:lpstr>CRIMPFOX Centrus Features and Benefits</vt:lpstr>
      <vt:lpstr>CRIMPFOX Centrus No Cover Handles</vt:lpstr>
      <vt:lpstr>CRIMPFOX Duo 10 and 16S Features and Benefits</vt:lpstr>
      <vt:lpstr>CRIMPFOX 4in1 Features and Benefits</vt:lpstr>
      <vt:lpstr>CRIMPFOX Crimp Geometries</vt:lpstr>
      <vt:lpstr>CRIMPFOX: Why use ferrules? </vt:lpstr>
      <vt:lpstr>CRIMPFOX: UL on Ferrules &amp; Tools</vt:lpstr>
      <vt:lpstr>SCREWFOX Product Line</vt:lpstr>
      <vt:lpstr>SCREWFOX Torque Screwdrivers (TSD) </vt:lpstr>
      <vt:lpstr>SCREWFOX TSD Features and Benefits</vt:lpstr>
      <vt:lpstr>SCREWFOX ASD 16 Features and Benefits</vt:lpstr>
      <vt:lpstr>SCREWFOX Socket Set 47 Features</vt:lpstr>
      <vt:lpstr>MICROFOX Features and Benefits</vt:lpstr>
      <vt:lpstr>MICROFOX Electronic Pliers</vt:lpstr>
      <vt:lpstr>MICROFOX Electronic Cutters</vt:lpstr>
      <vt:lpstr>MICROFOX Electric Static Discharge (ESD) Pliers and Cutters</vt:lpstr>
      <vt:lpstr>TOOL fox Tool &amp; Crimp Sets</vt:lpstr>
      <vt:lpstr>TOOL fox Ferrule Sets</vt:lpstr>
      <vt:lpstr>TOOL fox Tool Kits</vt:lpstr>
      <vt:lpstr>TOOL fox Tool Kits</vt:lpstr>
      <vt:lpstr>TOOL fox Tool Kits</vt:lpstr>
      <vt:lpstr>TOOL fox Tool Kits</vt:lpstr>
      <vt:lpstr>TOOL fox Tool Kits</vt:lpstr>
      <vt:lpstr>TOOL fox Tool Kits – Create your own!</vt:lpstr>
      <vt:lpstr>TOOL fox Semi-Automatic Wire Processing Machines</vt:lpstr>
      <vt:lpstr>TOOL fox Wire Stripping and Ferrule Crimping</vt:lpstr>
      <vt:lpstr>TOOL fox Wire Cutting and Stripping Devices</vt:lpstr>
      <vt:lpstr>TOOL fox Automatic Crimping Devices</vt:lpstr>
      <vt:lpstr>TOOL fox 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ing in acc. with the know-how protection guideline</dc:title>
  <dc:subject>Phoenix Contact Master</dc:subject>
  <dc:creator>Olivia Koicuba</dc:creator>
  <cp:lastModifiedBy>Olivia Koicuba</cp:lastModifiedBy>
  <cp:revision>24</cp:revision>
  <dcterms:created xsi:type="dcterms:W3CDTF">2023-01-23T15:03:31Z</dcterms:created>
  <dcterms:modified xsi:type="dcterms:W3CDTF">2023-01-30T13:1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CC0A627E987E459E79A62E6942E5A0</vt:lpwstr>
  </property>
  <property fmtid="{D5CDD505-2E9C-101B-9397-08002B2CF9AE}" pid="3" name="MediaServiceImageTags">
    <vt:lpwstr/>
  </property>
</Properties>
</file>